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2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sldIdLst>
    <p:sldId id="264" r:id="rId2"/>
    <p:sldId id="313" r:id="rId3"/>
    <p:sldId id="312" r:id="rId4"/>
    <p:sldId id="317" r:id="rId5"/>
    <p:sldId id="318" r:id="rId6"/>
    <p:sldId id="320" r:id="rId7"/>
    <p:sldId id="321" r:id="rId8"/>
    <p:sldId id="297" r:id="rId9"/>
    <p:sldId id="314" r:id="rId10"/>
    <p:sldId id="315" r:id="rId11"/>
    <p:sldId id="311" r:id="rId12"/>
    <p:sldId id="319" r:id="rId13"/>
    <p:sldId id="316" r:id="rId14"/>
    <p:sldId id="296" r:id="rId15"/>
  </p:sldIdLst>
  <p:sldSz cx="12192000" cy="6858000"/>
  <p:notesSz cx="6761163" cy="9942513"/>
  <p:custDataLst>
    <p:tags r:id="rId1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5C28"/>
    <a:srgbClr val="B64E2C"/>
    <a:srgbClr val="AB422C"/>
    <a:srgbClr val="BB542C"/>
    <a:srgbClr val="AF3C2C"/>
    <a:srgbClr val="AA402C"/>
    <a:srgbClr val="A2362C"/>
    <a:srgbClr val="C05A2C"/>
    <a:srgbClr val="AC432C"/>
    <a:srgbClr val="AC42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24" autoAdjust="0"/>
    <p:restoredTop sz="94660"/>
  </p:normalViewPr>
  <p:slideViewPr>
    <p:cSldViewPr snapToGrid="0" showGuides="1">
      <p:cViewPr varScale="1">
        <p:scale>
          <a:sx n="107" d="100"/>
          <a:sy n="107" d="100"/>
        </p:scale>
        <p:origin x="438" y="108"/>
      </p:cViewPr>
      <p:guideLst>
        <p:guide orient="horz" pos="2160"/>
        <p:guide pos="386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4AA6544-0961-3642-A941-A33E42930981}" type="doc">
      <dgm:prSet loTypeId="urn:microsoft.com/office/officeart/2008/layout/LinedList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CA61395-3616-5342-913B-D1EA9619FCF6}">
      <dgm:prSet phldrT="[Текст]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b="1" dirty="0">
              <a:solidFill>
                <a:schemeClr val="bg1"/>
              </a:solidFill>
            </a:rPr>
            <a:t>Система производственного планирования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b="1" dirty="0">
              <a:solidFill>
                <a:schemeClr val="bg1"/>
              </a:solidFill>
            </a:rPr>
            <a:t>АО «КЗОЦМ»</a:t>
          </a:r>
        </a:p>
      </dgm:t>
    </dgm:pt>
    <dgm:pt modelId="{05B85A9B-6863-034E-AAE1-DBBD3C63EC41}" type="parTrans" cxnId="{C400A235-7563-E54C-BA9F-0A3DC58195D1}">
      <dgm:prSet/>
      <dgm:spPr/>
      <dgm:t>
        <a:bodyPr/>
        <a:lstStyle/>
        <a:p>
          <a:endParaRPr lang="ru-RU"/>
        </a:p>
      </dgm:t>
    </dgm:pt>
    <dgm:pt modelId="{3F8965A3-609A-0044-B22C-651D427888C8}" type="sibTrans" cxnId="{C400A235-7563-E54C-BA9F-0A3DC58195D1}">
      <dgm:prSet/>
      <dgm:spPr/>
      <dgm:t>
        <a:bodyPr/>
        <a:lstStyle/>
        <a:p>
          <a:endParaRPr lang="ru-RU"/>
        </a:p>
      </dgm:t>
    </dgm:pt>
    <dgm:pt modelId="{509F7B88-0994-3742-963A-D6CC2CD4C5C5}">
      <dgm:prSet phldrT="[Текст]"/>
      <dgm:spPr/>
      <dgm:t>
        <a:bodyPr/>
        <a:lstStyle/>
        <a:p>
          <a:r>
            <a:rPr lang="ru-RU" b="0" dirty="0">
              <a:solidFill>
                <a:prstClr val="black"/>
              </a:solidFill>
              <a:latin typeface="+mn-lt"/>
              <a:ea typeface="Roboto" panose="02000000000000000000" pitchFamily="2" charset="0"/>
              <a:cs typeface="+mn-cs"/>
            </a:rPr>
            <a:t>Не адаптирована к динамически изменяющимся рыночным условиям</a:t>
          </a:r>
          <a:endParaRPr lang="ru-RU" dirty="0"/>
        </a:p>
      </dgm:t>
    </dgm:pt>
    <dgm:pt modelId="{1E79ED4D-0E20-C641-9F01-BB96566E264C}" type="parTrans" cxnId="{40F5EEDB-0F60-984E-9666-1FDC661CF88A}">
      <dgm:prSet/>
      <dgm:spPr/>
      <dgm:t>
        <a:bodyPr/>
        <a:lstStyle/>
        <a:p>
          <a:endParaRPr lang="ru-RU"/>
        </a:p>
      </dgm:t>
    </dgm:pt>
    <dgm:pt modelId="{A2E748D8-348E-F443-AAA9-527771478E17}" type="sibTrans" cxnId="{40F5EEDB-0F60-984E-9666-1FDC661CF88A}">
      <dgm:prSet/>
      <dgm:spPr/>
      <dgm:t>
        <a:bodyPr/>
        <a:lstStyle/>
        <a:p>
          <a:endParaRPr lang="ru-RU"/>
        </a:p>
      </dgm:t>
    </dgm:pt>
    <dgm:pt modelId="{3E7875F8-909A-384C-85A9-1A9D61A54C5F}">
      <dgm:prSet phldrT="[Текст]"/>
      <dgm:spPr/>
      <dgm:t>
        <a:bodyPr/>
        <a:lstStyle/>
        <a:p>
          <a:r>
            <a:rPr lang="ru-RU" b="0" dirty="0">
              <a:solidFill>
                <a:prstClr val="black"/>
              </a:solidFill>
              <a:latin typeface="+mn-lt"/>
              <a:ea typeface="Roboto" panose="02000000000000000000" pitchFamily="2" charset="0"/>
              <a:cs typeface="+mn-cs"/>
            </a:rPr>
            <a:t>Ориентирована на равномерную загрузку всего комплекса имеющегося технологического оборудования</a:t>
          </a:r>
          <a:endParaRPr lang="ru-RU" dirty="0"/>
        </a:p>
      </dgm:t>
    </dgm:pt>
    <dgm:pt modelId="{CBCA381A-4806-544F-9BB9-2166196006A5}" type="parTrans" cxnId="{BCC9133E-02C2-184F-96FD-277C33BA4365}">
      <dgm:prSet/>
      <dgm:spPr/>
      <dgm:t>
        <a:bodyPr/>
        <a:lstStyle/>
        <a:p>
          <a:endParaRPr lang="ru-RU"/>
        </a:p>
      </dgm:t>
    </dgm:pt>
    <dgm:pt modelId="{D11EDA64-33F6-654C-B274-BAF0AFDB9420}" type="sibTrans" cxnId="{BCC9133E-02C2-184F-96FD-277C33BA4365}">
      <dgm:prSet/>
      <dgm:spPr/>
      <dgm:t>
        <a:bodyPr/>
        <a:lstStyle/>
        <a:p>
          <a:endParaRPr lang="ru-RU"/>
        </a:p>
      </dgm:t>
    </dgm:pt>
    <dgm:pt modelId="{3A75615A-C098-EF4A-92D3-39D8FAF0C4CA}">
      <dgm:prSet/>
      <dgm:spPr/>
      <dgm:t>
        <a:bodyPr/>
        <a:lstStyle/>
        <a:p>
          <a:r>
            <a:rPr lang="ru-RU" b="0" dirty="0">
              <a:solidFill>
                <a:prstClr val="black"/>
              </a:solidFill>
              <a:latin typeface="+mn-lt"/>
              <a:ea typeface="Roboto" panose="02000000000000000000" pitchFamily="2" charset="0"/>
              <a:cs typeface="+mn-cs"/>
            </a:rPr>
            <a:t>Отсутствует механизм расчета загрузки оборудования при определении сроков изготовления</a:t>
          </a:r>
          <a:endParaRPr lang="ru-RU" dirty="0"/>
        </a:p>
      </dgm:t>
    </dgm:pt>
    <dgm:pt modelId="{8DDE8870-5823-D745-9F51-10814D900EBB}" type="parTrans" cxnId="{A2116B3F-FFDD-B549-B2C8-9C94BA212DDE}">
      <dgm:prSet/>
      <dgm:spPr/>
      <dgm:t>
        <a:bodyPr/>
        <a:lstStyle/>
        <a:p>
          <a:endParaRPr lang="ru-RU"/>
        </a:p>
      </dgm:t>
    </dgm:pt>
    <dgm:pt modelId="{27019645-7735-F245-B7A1-F94B33DF43C5}" type="sibTrans" cxnId="{A2116B3F-FFDD-B549-B2C8-9C94BA212DDE}">
      <dgm:prSet/>
      <dgm:spPr/>
      <dgm:t>
        <a:bodyPr/>
        <a:lstStyle/>
        <a:p>
          <a:endParaRPr lang="ru-RU"/>
        </a:p>
      </dgm:t>
    </dgm:pt>
    <dgm:pt modelId="{6B2E506E-4FFA-5B44-B60F-798075B48FFF}">
      <dgm:prSet/>
      <dgm:spPr/>
      <dgm:t>
        <a:bodyPr/>
        <a:lstStyle/>
        <a:p>
          <a:r>
            <a:rPr lang="ru-RU" b="0" dirty="0">
              <a:solidFill>
                <a:prstClr val="black"/>
              </a:solidFill>
              <a:latin typeface="+mn-lt"/>
              <a:ea typeface="Roboto" panose="02000000000000000000" pitchFamily="2" charset="0"/>
              <a:cs typeface="+mn-cs"/>
            </a:rPr>
            <a:t>Планирование хода производства выполняют инженеры производственного планирования</a:t>
          </a:r>
          <a:endParaRPr lang="ru-RU" dirty="0"/>
        </a:p>
      </dgm:t>
    </dgm:pt>
    <dgm:pt modelId="{205CDE31-45BF-C84E-91F8-70B73428FB67}" type="parTrans" cxnId="{B3389B96-C8FB-F844-AC4B-A15E7C2A89CC}">
      <dgm:prSet/>
      <dgm:spPr/>
      <dgm:t>
        <a:bodyPr/>
        <a:lstStyle/>
        <a:p>
          <a:endParaRPr lang="ru-RU"/>
        </a:p>
      </dgm:t>
    </dgm:pt>
    <dgm:pt modelId="{87CE5AEC-1E44-C04E-86B5-766D9C619535}" type="sibTrans" cxnId="{B3389B96-C8FB-F844-AC4B-A15E7C2A89CC}">
      <dgm:prSet/>
      <dgm:spPr/>
      <dgm:t>
        <a:bodyPr/>
        <a:lstStyle/>
        <a:p>
          <a:endParaRPr lang="ru-RU"/>
        </a:p>
      </dgm:t>
    </dgm:pt>
    <dgm:pt modelId="{D22A51B0-68FD-C046-9917-03CC82483D89}">
      <dgm:prSet/>
      <dgm:spPr/>
      <dgm:t>
        <a:bodyPr/>
        <a:lstStyle/>
        <a:p>
          <a:r>
            <a:rPr lang="ru-RU" b="0">
              <a:solidFill>
                <a:prstClr val="black"/>
              </a:solidFill>
              <a:latin typeface="+mn-lt"/>
              <a:ea typeface="Roboto" panose="02000000000000000000" pitchFamily="2" charset="0"/>
              <a:cs typeface="+mn-cs"/>
            </a:rPr>
            <a:t>Автоматизированные системы, способные облегчить «ручной труд» и снизить долю влияния «человеческого» фактора, не применяются</a:t>
          </a:r>
          <a:endParaRPr lang="ru-RU" dirty="0"/>
        </a:p>
      </dgm:t>
    </dgm:pt>
    <dgm:pt modelId="{0C640052-79FF-0346-8905-279DD99B4EB3}" type="parTrans" cxnId="{B1696275-D52B-D94B-AA1A-AC1B7D7D4560}">
      <dgm:prSet/>
      <dgm:spPr/>
      <dgm:t>
        <a:bodyPr/>
        <a:lstStyle/>
        <a:p>
          <a:endParaRPr lang="ru-RU"/>
        </a:p>
      </dgm:t>
    </dgm:pt>
    <dgm:pt modelId="{41391599-630C-D448-8193-6357CA69C317}" type="sibTrans" cxnId="{B1696275-D52B-D94B-AA1A-AC1B7D7D4560}">
      <dgm:prSet/>
      <dgm:spPr/>
      <dgm:t>
        <a:bodyPr/>
        <a:lstStyle/>
        <a:p>
          <a:endParaRPr lang="ru-RU"/>
        </a:p>
      </dgm:t>
    </dgm:pt>
    <dgm:pt modelId="{0FA28ABE-6BC4-DC4D-8D57-395068C91609}">
      <dgm:prSet/>
      <dgm:spPr/>
      <dgm:t>
        <a:bodyPr/>
        <a:lstStyle/>
        <a:p>
          <a:r>
            <a:rPr lang="ru-RU" b="0" dirty="0">
              <a:solidFill>
                <a:prstClr val="black"/>
              </a:solidFill>
              <a:latin typeface="+mn-lt"/>
              <a:ea typeface="Roboto" panose="02000000000000000000" pitchFamily="2" charset="0"/>
              <a:cs typeface="+mn-cs"/>
            </a:rPr>
            <a:t>Большое количество и вариабельность ежемесячных заказов, что затрудняет ежедневный контроль выполнения каждой позиции, а также требует увеличение запасов НЗП</a:t>
          </a:r>
          <a:endParaRPr lang="ru-RU" dirty="0"/>
        </a:p>
      </dgm:t>
    </dgm:pt>
    <dgm:pt modelId="{9068A3E3-363B-E248-AAE6-32BA43A31978}" type="parTrans" cxnId="{08B110EC-5690-9C40-B918-9AD0400655A2}">
      <dgm:prSet/>
      <dgm:spPr/>
      <dgm:t>
        <a:bodyPr/>
        <a:lstStyle/>
        <a:p>
          <a:endParaRPr lang="ru-RU"/>
        </a:p>
      </dgm:t>
    </dgm:pt>
    <dgm:pt modelId="{7ACA3903-3ABA-1B4E-B176-F5D43217D96B}" type="sibTrans" cxnId="{08B110EC-5690-9C40-B918-9AD0400655A2}">
      <dgm:prSet/>
      <dgm:spPr/>
      <dgm:t>
        <a:bodyPr/>
        <a:lstStyle/>
        <a:p>
          <a:endParaRPr lang="ru-RU"/>
        </a:p>
      </dgm:t>
    </dgm:pt>
    <dgm:pt modelId="{75BD80AA-D4B1-EE41-AAD0-E91DF31803BA}">
      <dgm:prSet/>
      <dgm:spPr/>
      <dgm:t>
        <a:bodyPr/>
        <a:lstStyle/>
        <a:p>
          <a:r>
            <a:rPr lang="ru-RU" b="0" dirty="0">
              <a:solidFill>
                <a:prstClr val="black"/>
              </a:solidFill>
              <a:latin typeface="+mn-lt"/>
              <a:ea typeface="Roboto" panose="02000000000000000000" pitchFamily="2" charset="0"/>
              <a:cs typeface="+mn-cs"/>
            </a:rPr>
            <a:t>Высокая вариативность распределения технологических потоков</a:t>
          </a:r>
          <a:endParaRPr lang="ru-RU" dirty="0"/>
        </a:p>
      </dgm:t>
    </dgm:pt>
    <dgm:pt modelId="{BC8261F5-4EB8-2C42-98DC-30997FB44C2B}" type="parTrans" cxnId="{1B68C505-1267-9847-972E-9ADE9BEE0AB8}">
      <dgm:prSet/>
      <dgm:spPr/>
      <dgm:t>
        <a:bodyPr/>
        <a:lstStyle/>
        <a:p>
          <a:endParaRPr lang="ru-RU"/>
        </a:p>
      </dgm:t>
    </dgm:pt>
    <dgm:pt modelId="{1D76CDAE-231B-864D-BE3A-7DA5F29A3466}" type="sibTrans" cxnId="{1B68C505-1267-9847-972E-9ADE9BEE0AB8}">
      <dgm:prSet/>
      <dgm:spPr/>
      <dgm:t>
        <a:bodyPr/>
        <a:lstStyle/>
        <a:p>
          <a:endParaRPr lang="ru-RU"/>
        </a:p>
      </dgm:t>
    </dgm:pt>
    <dgm:pt modelId="{14563825-3FDC-CA41-A7B3-FD3A4890BE06}" type="pres">
      <dgm:prSet presAssocID="{54AA6544-0961-3642-A941-A33E42930981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066228E0-3CB3-BF4B-9C25-1751546E7CD4}" type="pres">
      <dgm:prSet presAssocID="{2CA61395-3616-5342-913B-D1EA9619FCF6}" presName="thickLine" presStyleLbl="alignNode1" presStyleIdx="0" presStyleCnt="1"/>
      <dgm:spPr/>
    </dgm:pt>
    <dgm:pt modelId="{E0D017EB-00A0-8E40-9381-1BCDDEDE47DD}" type="pres">
      <dgm:prSet presAssocID="{2CA61395-3616-5342-913B-D1EA9619FCF6}" presName="horz1" presStyleCnt="0"/>
      <dgm:spPr/>
    </dgm:pt>
    <dgm:pt modelId="{4BF60E87-5DE5-C64E-BD09-FE3F8321C5C1}" type="pres">
      <dgm:prSet presAssocID="{2CA61395-3616-5342-913B-D1EA9619FCF6}" presName="tx1" presStyleLbl="revTx" presStyleIdx="0" presStyleCnt="8" custScaleX="136223"/>
      <dgm:spPr/>
      <dgm:t>
        <a:bodyPr/>
        <a:lstStyle/>
        <a:p>
          <a:endParaRPr lang="ru-RU"/>
        </a:p>
      </dgm:t>
    </dgm:pt>
    <dgm:pt modelId="{AD9C0AEA-1637-4C48-9350-C2E1D8F1A9F1}" type="pres">
      <dgm:prSet presAssocID="{2CA61395-3616-5342-913B-D1EA9619FCF6}" presName="vert1" presStyleCnt="0"/>
      <dgm:spPr/>
    </dgm:pt>
    <dgm:pt modelId="{93F98790-3168-1345-A13B-F026FC14F8F7}" type="pres">
      <dgm:prSet presAssocID="{509F7B88-0994-3742-963A-D6CC2CD4C5C5}" presName="vertSpace2a" presStyleCnt="0"/>
      <dgm:spPr/>
    </dgm:pt>
    <dgm:pt modelId="{71536E99-6A0C-1344-B479-5D13E9F95B18}" type="pres">
      <dgm:prSet presAssocID="{509F7B88-0994-3742-963A-D6CC2CD4C5C5}" presName="horz2" presStyleCnt="0"/>
      <dgm:spPr/>
    </dgm:pt>
    <dgm:pt modelId="{0D9408AC-C958-E249-8407-2CFDB5F0164E}" type="pres">
      <dgm:prSet presAssocID="{509F7B88-0994-3742-963A-D6CC2CD4C5C5}" presName="horzSpace2" presStyleCnt="0"/>
      <dgm:spPr/>
    </dgm:pt>
    <dgm:pt modelId="{DF24BAF8-47BF-534A-A994-299896CC7D97}" type="pres">
      <dgm:prSet presAssocID="{509F7B88-0994-3742-963A-D6CC2CD4C5C5}" presName="tx2" presStyleLbl="revTx" presStyleIdx="1" presStyleCnt="8"/>
      <dgm:spPr/>
      <dgm:t>
        <a:bodyPr/>
        <a:lstStyle/>
        <a:p>
          <a:endParaRPr lang="ru-RU"/>
        </a:p>
      </dgm:t>
    </dgm:pt>
    <dgm:pt modelId="{CB701178-985C-AE49-A054-6BB9EDFC74FE}" type="pres">
      <dgm:prSet presAssocID="{509F7B88-0994-3742-963A-D6CC2CD4C5C5}" presName="vert2" presStyleCnt="0"/>
      <dgm:spPr/>
    </dgm:pt>
    <dgm:pt modelId="{4AE489DB-DFB9-7743-90C3-80A59A1D8402}" type="pres">
      <dgm:prSet presAssocID="{509F7B88-0994-3742-963A-D6CC2CD4C5C5}" presName="thinLine2b" presStyleLbl="callout" presStyleIdx="0" presStyleCnt="7"/>
      <dgm:spPr/>
    </dgm:pt>
    <dgm:pt modelId="{7838C3CE-28A8-1541-BBFD-8DC0312BA7FE}" type="pres">
      <dgm:prSet presAssocID="{509F7B88-0994-3742-963A-D6CC2CD4C5C5}" presName="vertSpace2b" presStyleCnt="0"/>
      <dgm:spPr/>
    </dgm:pt>
    <dgm:pt modelId="{6250A660-1618-8D45-83BB-F2A1A225C116}" type="pres">
      <dgm:prSet presAssocID="{3E7875F8-909A-384C-85A9-1A9D61A54C5F}" presName="horz2" presStyleCnt="0"/>
      <dgm:spPr/>
    </dgm:pt>
    <dgm:pt modelId="{18F9B74D-4C82-8748-855C-000AFF6CFE4F}" type="pres">
      <dgm:prSet presAssocID="{3E7875F8-909A-384C-85A9-1A9D61A54C5F}" presName="horzSpace2" presStyleCnt="0"/>
      <dgm:spPr/>
    </dgm:pt>
    <dgm:pt modelId="{D8268A05-A373-7040-8E77-5AC333088947}" type="pres">
      <dgm:prSet presAssocID="{3E7875F8-909A-384C-85A9-1A9D61A54C5F}" presName="tx2" presStyleLbl="revTx" presStyleIdx="2" presStyleCnt="8"/>
      <dgm:spPr/>
      <dgm:t>
        <a:bodyPr/>
        <a:lstStyle/>
        <a:p>
          <a:endParaRPr lang="ru-RU"/>
        </a:p>
      </dgm:t>
    </dgm:pt>
    <dgm:pt modelId="{BC43B900-FC9D-284F-B1D4-DEAEA5033BEA}" type="pres">
      <dgm:prSet presAssocID="{3E7875F8-909A-384C-85A9-1A9D61A54C5F}" presName="vert2" presStyleCnt="0"/>
      <dgm:spPr/>
    </dgm:pt>
    <dgm:pt modelId="{D620A586-4F19-2F44-ACA9-75DA69D21C35}" type="pres">
      <dgm:prSet presAssocID="{3E7875F8-909A-384C-85A9-1A9D61A54C5F}" presName="thinLine2b" presStyleLbl="callout" presStyleIdx="1" presStyleCnt="7"/>
      <dgm:spPr/>
    </dgm:pt>
    <dgm:pt modelId="{4FBDCD53-59D6-0B41-B131-268E7CF3C248}" type="pres">
      <dgm:prSet presAssocID="{3E7875F8-909A-384C-85A9-1A9D61A54C5F}" presName="vertSpace2b" presStyleCnt="0"/>
      <dgm:spPr/>
    </dgm:pt>
    <dgm:pt modelId="{FEF3DC14-5DF7-4847-B2A4-09758E78567A}" type="pres">
      <dgm:prSet presAssocID="{3A75615A-C098-EF4A-92D3-39D8FAF0C4CA}" presName="horz2" presStyleCnt="0"/>
      <dgm:spPr/>
    </dgm:pt>
    <dgm:pt modelId="{FB72C875-E8EE-BB49-A032-724464212467}" type="pres">
      <dgm:prSet presAssocID="{3A75615A-C098-EF4A-92D3-39D8FAF0C4CA}" presName="horzSpace2" presStyleCnt="0"/>
      <dgm:spPr/>
    </dgm:pt>
    <dgm:pt modelId="{AD2ED63D-986C-444F-A615-9D89CE1459A3}" type="pres">
      <dgm:prSet presAssocID="{3A75615A-C098-EF4A-92D3-39D8FAF0C4CA}" presName="tx2" presStyleLbl="revTx" presStyleIdx="3" presStyleCnt="8"/>
      <dgm:spPr/>
      <dgm:t>
        <a:bodyPr/>
        <a:lstStyle/>
        <a:p>
          <a:endParaRPr lang="ru-RU"/>
        </a:p>
      </dgm:t>
    </dgm:pt>
    <dgm:pt modelId="{F67FD50E-25FF-8D4D-96C1-07247C0619B9}" type="pres">
      <dgm:prSet presAssocID="{3A75615A-C098-EF4A-92D3-39D8FAF0C4CA}" presName="vert2" presStyleCnt="0"/>
      <dgm:spPr/>
    </dgm:pt>
    <dgm:pt modelId="{3EE65DB7-BE46-3748-A73F-BD2F027DBE82}" type="pres">
      <dgm:prSet presAssocID="{3A75615A-C098-EF4A-92D3-39D8FAF0C4CA}" presName="thinLine2b" presStyleLbl="callout" presStyleIdx="2" presStyleCnt="7"/>
      <dgm:spPr/>
    </dgm:pt>
    <dgm:pt modelId="{9F791E45-C8ED-654F-873A-BDEF28741DC2}" type="pres">
      <dgm:prSet presAssocID="{3A75615A-C098-EF4A-92D3-39D8FAF0C4CA}" presName="vertSpace2b" presStyleCnt="0"/>
      <dgm:spPr/>
    </dgm:pt>
    <dgm:pt modelId="{1B4B8DEB-2010-F54F-836C-17E67186A1CB}" type="pres">
      <dgm:prSet presAssocID="{6B2E506E-4FFA-5B44-B60F-798075B48FFF}" presName="horz2" presStyleCnt="0"/>
      <dgm:spPr/>
    </dgm:pt>
    <dgm:pt modelId="{9068D2C9-04DC-0F40-BCB2-3F75930D13F6}" type="pres">
      <dgm:prSet presAssocID="{6B2E506E-4FFA-5B44-B60F-798075B48FFF}" presName="horzSpace2" presStyleCnt="0"/>
      <dgm:spPr/>
    </dgm:pt>
    <dgm:pt modelId="{547E3FE9-AA99-044D-9AA9-06D584A2E8FC}" type="pres">
      <dgm:prSet presAssocID="{6B2E506E-4FFA-5B44-B60F-798075B48FFF}" presName="tx2" presStyleLbl="revTx" presStyleIdx="4" presStyleCnt="8"/>
      <dgm:spPr/>
      <dgm:t>
        <a:bodyPr/>
        <a:lstStyle/>
        <a:p>
          <a:endParaRPr lang="ru-RU"/>
        </a:p>
      </dgm:t>
    </dgm:pt>
    <dgm:pt modelId="{A11C3C68-CEA6-8141-A770-E16D48059649}" type="pres">
      <dgm:prSet presAssocID="{6B2E506E-4FFA-5B44-B60F-798075B48FFF}" presName="vert2" presStyleCnt="0"/>
      <dgm:spPr/>
    </dgm:pt>
    <dgm:pt modelId="{E50DC9A6-DC07-EB42-9FAD-8600CA01A7EC}" type="pres">
      <dgm:prSet presAssocID="{6B2E506E-4FFA-5B44-B60F-798075B48FFF}" presName="thinLine2b" presStyleLbl="callout" presStyleIdx="3" presStyleCnt="7"/>
      <dgm:spPr/>
    </dgm:pt>
    <dgm:pt modelId="{83DBD6D5-A7DE-C143-9DF5-C2E3DE8AE6DA}" type="pres">
      <dgm:prSet presAssocID="{6B2E506E-4FFA-5B44-B60F-798075B48FFF}" presName="vertSpace2b" presStyleCnt="0"/>
      <dgm:spPr/>
    </dgm:pt>
    <dgm:pt modelId="{4327627D-52C4-3247-A160-8B66126D50A2}" type="pres">
      <dgm:prSet presAssocID="{D22A51B0-68FD-C046-9917-03CC82483D89}" presName="horz2" presStyleCnt="0"/>
      <dgm:spPr/>
    </dgm:pt>
    <dgm:pt modelId="{F017AF3C-3534-5346-8026-2064F5839455}" type="pres">
      <dgm:prSet presAssocID="{D22A51B0-68FD-C046-9917-03CC82483D89}" presName="horzSpace2" presStyleCnt="0"/>
      <dgm:spPr/>
    </dgm:pt>
    <dgm:pt modelId="{5F7D0FFF-7A54-4B4C-A2F3-A9491EF04E3E}" type="pres">
      <dgm:prSet presAssocID="{D22A51B0-68FD-C046-9917-03CC82483D89}" presName="tx2" presStyleLbl="revTx" presStyleIdx="5" presStyleCnt="8"/>
      <dgm:spPr/>
      <dgm:t>
        <a:bodyPr/>
        <a:lstStyle/>
        <a:p>
          <a:endParaRPr lang="ru-RU"/>
        </a:p>
      </dgm:t>
    </dgm:pt>
    <dgm:pt modelId="{5004D558-343E-A740-BE0B-B3D36951CC8A}" type="pres">
      <dgm:prSet presAssocID="{D22A51B0-68FD-C046-9917-03CC82483D89}" presName="vert2" presStyleCnt="0"/>
      <dgm:spPr/>
    </dgm:pt>
    <dgm:pt modelId="{72B79A3B-A992-EE46-BB36-F846438B6F7B}" type="pres">
      <dgm:prSet presAssocID="{D22A51B0-68FD-C046-9917-03CC82483D89}" presName="thinLine2b" presStyleLbl="callout" presStyleIdx="4" presStyleCnt="7"/>
      <dgm:spPr/>
    </dgm:pt>
    <dgm:pt modelId="{94E888C9-0196-DB48-953F-48C3CC09188E}" type="pres">
      <dgm:prSet presAssocID="{D22A51B0-68FD-C046-9917-03CC82483D89}" presName="vertSpace2b" presStyleCnt="0"/>
      <dgm:spPr/>
    </dgm:pt>
    <dgm:pt modelId="{A576F501-6B8F-734D-A504-646AB83BB10D}" type="pres">
      <dgm:prSet presAssocID="{0FA28ABE-6BC4-DC4D-8D57-395068C91609}" presName="horz2" presStyleCnt="0"/>
      <dgm:spPr/>
    </dgm:pt>
    <dgm:pt modelId="{68388026-1314-D140-96D6-3685B9277BAF}" type="pres">
      <dgm:prSet presAssocID="{0FA28ABE-6BC4-DC4D-8D57-395068C91609}" presName="horzSpace2" presStyleCnt="0"/>
      <dgm:spPr/>
    </dgm:pt>
    <dgm:pt modelId="{3298FAB7-010C-D848-9C5F-BA23791DCE66}" type="pres">
      <dgm:prSet presAssocID="{0FA28ABE-6BC4-DC4D-8D57-395068C91609}" presName="tx2" presStyleLbl="revTx" presStyleIdx="6" presStyleCnt="8"/>
      <dgm:spPr/>
      <dgm:t>
        <a:bodyPr/>
        <a:lstStyle/>
        <a:p>
          <a:endParaRPr lang="ru-RU"/>
        </a:p>
      </dgm:t>
    </dgm:pt>
    <dgm:pt modelId="{9D405493-71AE-7C49-A4FB-D9CA392E012F}" type="pres">
      <dgm:prSet presAssocID="{0FA28ABE-6BC4-DC4D-8D57-395068C91609}" presName="vert2" presStyleCnt="0"/>
      <dgm:spPr/>
    </dgm:pt>
    <dgm:pt modelId="{087E8494-6829-F641-8E78-3B49B659E87D}" type="pres">
      <dgm:prSet presAssocID="{0FA28ABE-6BC4-DC4D-8D57-395068C91609}" presName="thinLine2b" presStyleLbl="callout" presStyleIdx="5" presStyleCnt="7"/>
      <dgm:spPr/>
    </dgm:pt>
    <dgm:pt modelId="{31C0833B-2B76-6D45-8A8D-F71CF65DF130}" type="pres">
      <dgm:prSet presAssocID="{0FA28ABE-6BC4-DC4D-8D57-395068C91609}" presName="vertSpace2b" presStyleCnt="0"/>
      <dgm:spPr/>
    </dgm:pt>
    <dgm:pt modelId="{006C3F8B-65A5-1842-8109-FA39BCE45300}" type="pres">
      <dgm:prSet presAssocID="{75BD80AA-D4B1-EE41-AAD0-E91DF31803BA}" presName="horz2" presStyleCnt="0"/>
      <dgm:spPr/>
    </dgm:pt>
    <dgm:pt modelId="{869940AA-7AF1-6D4F-975A-A7BD570E9384}" type="pres">
      <dgm:prSet presAssocID="{75BD80AA-D4B1-EE41-AAD0-E91DF31803BA}" presName="horzSpace2" presStyleCnt="0"/>
      <dgm:spPr/>
    </dgm:pt>
    <dgm:pt modelId="{BF768913-645D-984F-838D-02B98A86DA26}" type="pres">
      <dgm:prSet presAssocID="{75BD80AA-D4B1-EE41-AAD0-E91DF31803BA}" presName="tx2" presStyleLbl="revTx" presStyleIdx="7" presStyleCnt="8"/>
      <dgm:spPr/>
      <dgm:t>
        <a:bodyPr/>
        <a:lstStyle/>
        <a:p>
          <a:endParaRPr lang="ru-RU"/>
        </a:p>
      </dgm:t>
    </dgm:pt>
    <dgm:pt modelId="{171F6A6E-CCAF-CE49-B655-9E9B87E1CC83}" type="pres">
      <dgm:prSet presAssocID="{75BD80AA-D4B1-EE41-AAD0-E91DF31803BA}" presName="vert2" presStyleCnt="0"/>
      <dgm:spPr/>
    </dgm:pt>
    <dgm:pt modelId="{2C83C1A0-A4F2-9A43-AB72-6C191F0C030C}" type="pres">
      <dgm:prSet presAssocID="{75BD80AA-D4B1-EE41-AAD0-E91DF31803BA}" presName="thinLine2b" presStyleLbl="callout" presStyleIdx="6" presStyleCnt="7"/>
      <dgm:spPr/>
    </dgm:pt>
    <dgm:pt modelId="{16BDE518-5DCA-ED45-96BE-9E5319025E71}" type="pres">
      <dgm:prSet presAssocID="{75BD80AA-D4B1-EE41-AAD0-E91DF31803BA}" presName="vertSpace2b" presStyleCnt="0"/>
      <dgm:spPr/>
    </dgm:pt>
  </dgm:ptLst>
  <dgm:cxnLst>
    <dgm:cxn modelId="{1B68C505-1267-9847-972E-9ADE9BEE0AB8}" srcId="{2CA61395-3616-5342-913B-D1EA9619FCF6}" destId="{75BD80AA-D4B1-EE41-AAD0-E91DF31803BA}" srcOrd="6" destOrd="0" parTransId="{BC8261F5-4EB8-2C42-98DC-30997FB44C2B}" sibTransId="{1D76CDAE-231B-864D-BE3A-7DA5F29A3466}"/>
    <dgm:cxn modelId="{BCC9133E-02C2-184F-96FD-277C33BA4365}" srcId="{2CA61395-3616-5342-913B-D1EA9619FCF6}" destId="{3E7875F8-909A-384C-85A9-1A9D61A54C5F}" srcOrd="1" destOrd="0" parTransId="{CBCA381A-4806-544F-9BB9-2166196006A5}" sibTransId="{D11EDA64-33F6-654C-B274-BAF0AFDB9420}"/>
    <dgm:cxn modelId="{B3389B96-C8FB-F844-AC4B-A15E7C2A89CC}" srcId="{2CA61395-3616-5342-913B-D1EA9619FCF6}" destId="{6B2E506E-4FFA-5B44-B60F-798075B48FFF}" srcOrd="3" destOrd="0" parTransId="{205CDE31-45BF-C84E-91F8-70B73428FB67}" sibTransId="{87CE5AEC-1E44-C04E-86B5-766D9C619535}"/>
    <dgm:cxn modelId="{FFC109CB-EBA3-834B-A379-885638BCCCC6}" type="presOf" srcId="{D22A51B0-68FD-C046-9917-03CC82483D89}" destId="{5F7D0FFF-7A54-4B4C-A2F3-A9491EF04E3E}" srcOrd="0" destOrd="0" presId="urn:microsoft.com/office/officeart/2008/layout/LinedList"/>
    <dgm:cxn modelId="{84E7EF53-C890-9E45-BF03-6586FDEB1359}" type="presOf" srcId="{2CA61395-3616-5342-913B-D1EA9619FCF6}" destId="{4BF60E87-5DE5-C64E-BD09-FE3F8321C5C1}" srcOrd="0" destOrd="0" presId="urn:microsoft.com/office/officeart/2008/layout/LinedList"/>
    <dgm:cxn modelId="{177DB5D2-59E5-7942-ACA5-F974D1A382A5}" type="presOf" srcId="{509F7B88-0994-3742-963A-D6CC2CD4C5C5}" destId="{DF24BAF8-47BF-534A-A994-299896CC7D97}" srcOrd="0" destOrd="0" presId="urn:microsoft.com/office/officeart/2008/layout/LinedList"/>
    <dgm:cxn modelId="{5643CC8A-78D5-9B45-BD1E-7E8A08FAB1E0}" type="presOf" srcId="{3E7875F8-909A-384C-85A9-1A9D61A54C5F}" destId="{D8268A05-A373-7040-8E77-5AC333088947}" srcOrd="0" destOrd="0" presId="urn:microsoft.com/office/officeart/2008/layout/LinedList"/>
    <dgm:cxn modelId="{2F5ABAF1-82F5-C343-B1CF-988E8D0678CA}" type="presOf" srcId="{75BD80AA-D4B1-EE41-AAD0-E91DF31803BA}" destId="{BF768913-645D-984F-838D-02B98A86DA26}" srcOrd="0" destOrd="0" presId="urn:microsoft.com/office/officeart/2008/layout/LinedList"/>
    <dgm:cxn modelId="{D711F38B-5D08-8642-B85C-543527FEE008}" type="presOf" srcId="{54AA6544-0961-3642-A941-A33E42930981}" destId="{14563825-3FDC-CA41-A7B3-FD3A4890BE06}" srcOrd="0" destOrd="0" presId="urn:microsoft.com/office/officeart/2008/layout/LinedList"/>
    <dgm:cxn modelId="{B1696275-D52B-D94B-AA1A-AC1B7D7D4560}" srcId="{2CA61395-3616-5342-913B-D1EA9619FCF6}" destId="{D22A51B0-68FD-C046-9917-03CC82483D89}" srcOrd="4" destOrd="0" parTransId="{0C640052-79FF-0346-8905-279DD99B4EB3}" sibTransId="{41391599-630C-D448-8193-6357CA69C317}"/>
    <dgm:cxn modelId="{6C6A9F05-B9F4-744C-A7FC-D7DAAC2E6664}" type="presOf" srcId="{3A75615A-C098-EF4A-92D3-39D8FAF0C4CA}" destId="{AD2ED63D-986C-444F-A615-9D89CE1459A3}" srcOrd="0" destOrd="0" presId="urn:microsoft.com/office/officeart/2008/layout/LinedList"/>
    <dgm:cxn modelId="{A2116B3F-FFDD-B549-B2C8-9C94BA212DDE}" srcId="{2CA61395-3616-5342-913B-D1EA9619FCF6}" destId="{3A75615A-C098-EF4A-92D3-39D8FAF0C4CA}" srcOrd="2" destOrd="0" parTransId="{8DDE8870-5823-D745-9F51-10814D900EBB}" sibTransId="{27019645-7735-F245-B7A1-F94B33DF43C5}"/>
    <dgm:cxn modelId="{2BFC69EF-ECAE-9C4A-82B0-13B6601AA8FF}" type="presOf" srcId="{0FA28ABE-6BC4-DC4D-8D57-395068C91609}" destId="{3298FAB7-010C-D848-9C5F-BA23791DCE66}" srcOrd="0" destOrd="0" presId="urn:microsoft.com/office/officeart/2008/layout/LinedList"/>
    <dgm:cxn modelId="{C400A235-7563-E54C-BA9F-0A3DC58195D1}" srcId="{54AA6544-0961-3642-A941-A33E42930981}" destId="{2CA61395-3616-5342-913B-D1EA9619FCF6}" srcOrd="0" destOrd="0" parTransId="{05B85A9B-6863-034E-AAE1-DBBD3C63EC41}" sibTransId="{3F8965A3-609A-0044-B22C-651D427888C8}"/>
    <dgm:cxn modelId="{08B110EC-5690-9C40-B918-9AD0400655A2}" srcId="{2CA61395-3616-5342-913B-D1EA9619FCF6}" destId="{0FA28ABE-6BC4-DC4D-8D57-395068C91609}" srcOrd="5" destOrd="0" parTransId="{9068A3E3-363B-E248-AAE6-32BA43A31978}" sibTransId="{7ACA3903-3ABA-1B4E-B176-F5D43217D96B}"/>
    <dgm:cxn modelId="{F34BB8F0-DA09-A34C-B4A6-7F8273A011A0}" type="presOf" srcId="{6B2E506E-4FFA-5B44-B60F-798075B48FFF}" destId="{547E3FE9-AA99-044D-9AA9-06D584A2E8FC}" srcOrd="0" destOrd="0" presId="urn:microsoft.com/office/officeart/2008/layout/LinedList"/>
    <dgm:cxn modelId="{40F5EEDB-0F60-984E-9666-1FDC661CF88A}" srcId="{2CA61395-3616-5342-913B-D1EA9619FCF6}" destId="{509F7B88-0994-3742-963A-D6CC2CD4C5C5}" srcOrd="0" destOrd="0" parTransId="{1E79ED4D-0E20-C641-9F01-BB96566E264C}" sibTransId="{A2E748D8-348E-F443-AAA9-527771478E17}"/>
    <dgm:cxn modelId="{69261DC8-5D4B-BB46-8412-3092BAD0E315}" type="presParOf" srcId="{14563825-3FDC-CA41-A7B3-FD3A4890BE06}" destId="{066228E0-3CB3-BF4B-9C25-1751546E7CD4}" srcOrd="0" destOrd="0" presId="urn:microsoft.com/office/officeart/2008/layout/LinedList"/>
    <dgm:cxn modelId="{2D5C3956-0646-E44E-82A1-8D4310D9F95C}" type="presParOf" srcId="{14563825-3FDC-CA41-A7B3-FD3A4890BE06}" destId="{E0D017EB-00A0-8E40-9381-1BCDDEDE47DD}" srcOrd="1" destOrd="0" presId="urn:microsoft.com/office/officeart/2008/layout/LinedList"/>
    <dgm:cxn modelId="{A7FCAD75-7B17-8446-BB24-DC6824A0398D}" type="presParOf" srcId="{E0D017EB-00A0-8E40-9381-1BCDDEDE47DD}" destId="{4BF60E87-5DE5-C64E-BD09-FE3F8321C5C1}" srcOrd="0" destOrd="0" presId="urn:microsoft.com/office/officeart/2008/layout/LinedList"/>
    <dgm:cxn modelId="{6A8AD536-6512-8D40-89D6-9A880B9AC1E4}" type="presParOf" srcId="{E0D017EB-00A0-8E40-9381-1BCDDEDE47DD}" destId="{AD9C0AEA-1637-4C48-9350-C2E1D8F1A9F1}" srcOrd="1" destOrd="0" presId="urn:microsoft.com/office/officeart/2008/layout/LinedList"/>
    <dgm:cxn modelId="{EF01C68A-BBA6-504B-8794-C857EF235E1E}" type="presParOf" srcId="{AD9C0AEA-1637-4C48-9350-C2E1D8F1A9F1}" destId="{93F98790-3168-1345-A13B-F026FC14F8F7}" srcOrd="0" destOrd="0" presId="urn:microsoft.com/office/officeart/2008/layout/LinedList"/>
    <dgm:cxn modelId="{1B4DDCF2-FBD8-F54D-8528-C5A65CE08982}" type="presParOf" srcId="{AD9C0AEA-1637-4C48-9350-C2E1D8F1A9F1}" destId="{71536E99-6A0C-1344-B479-5D13E9F95B18}" srcOrd="1" destOrd="0" presId="urn:microsoft.com/office/officeart/2008/layout/LinedList"/>
    <dgm:cxn modelId="{52387B21-B438-BF4D-8E78-F88AF316C74C}" type="presParOf" srcId="{71536E99-6A0C-1344-B479-5D13E9F95B18}" destId="{0D9408AC-C958-E249-8407-2CFDB5F0164E}" srcOrd="0" destOrd="0" presId="urn:microsoft.com/office/officeart/2008/layout/LinedList"/>
    <dgm:cxn modelId="{0E3CB3DD-EA57-0341-862A-E711FBDE2BBB}" type="presParOf" srcId="{71536E99-6A0C-1344-B479-5D13E9F95B18}" destId="{DF24BAF8-47BF-534A-A994-299896CC7D97}" srcOrd="1" destOrd="0" presId="urn:microsoft.com/office/officeart/2008/layout/LinedList"/>
    <dgm:cxn modelId="{722AFAE2-064C-2A4E-874A-D7F5048EAEFF}" type="presParOf" srcId="{71536E99-6A0C-1344-B479-5D13E9F95B18}" destId="{CB701178-985C-AE49-A054-6BB9EDFC74FE}" srcOrd="2" destOrd="0" presId="urn:microsoft.com/office/officeart/2008/layout/LinedList"/>
    <dgm:cxn modelId="{7AEAF825-2C02-1049-9A12-4AAF64C76902}" type="presParOf" srcId="{AD9C0AEA-1637-4C48-9350-C2E1D8F1A9F1}" destId="{4AE489DB-DFB9-7743-90C3-80A59A1D8402}" srcOrd="2" destOrd="0" presId="urn:microsoft.com/office/officeart/2008/layout/LinedList"/>
    <dgm:cxn modelId="{11B6EB4C-E808-A64C-9A28-451CFC8D3C1B}" type="presParOf" srcId="{AD9C0AEA-1637-4C48-9350-C2E1D8F1A9F1}" destId="{7838C3CE-28A8-1541-BBFD-8DC0312BA7FE}" srcOrd="3" destOrd="0" presId="urn:microsoft.com/office/officeart/2008/layout/LinedList"/>
    <dgm:cxn modelId="{023BBDB1-6FA5-E440-A354-4E771B42FCC3}" type="presParOf" srcId="{AD9C0AEA-1637-4C48-9350-C2E1D8F1A9F1}" destId="{6250A660-1618-8D45-83BB-F2A1A225C116}" srcOrd="4" destOrd="0" presId="urn:microsoft.com/office/officeart/2008/layout/LinedList"/>
    <dgm:cxn modelId="{E0A3716C-1139-D64A-A7A8-BB0C4B602B4E}" type="presParOf" srcId="{6250A660-1618-8D45-83BB-F2A1A225C116}" destId="{18F9B74D-4C82-8748-855C-000AFF6CFE4F}" srcOrd="0" destOrd="0" presId="urn:microsoft.com/office/officeart/2008/layout/LinedList"/>
    <dgm:cxn modelId="{CB366CE4-DA79-D046-83C4-7FA5BF392970}" type="presParOf" srcId="{6250A660-1618-8D45-83BB-F2A1A225C116}" destId="{D8268A05-A373-7040-8E77-5AC333088947}" srcOrd="1" destOrd="0" presId="urn:microsoft.com/office/officeart/2008/layout/LinedList"/>
    <dgm:cxn modelId="{CAE17C55-A94A-C546-B897-7C40A4062803}" type="presParOf" srcId="{6250A660-1618-8D45-83BB-F2A1A225C116}" destId="{BC43B900-FC9D-284F-B1D4-DEAEA5033BEA}" srcOrd="2" destOrd="0" presId="urn:microsoft.com/office/officeart/2008/layout/LinedList"/>
    <dgm:cxn modelId="{E8BB0073-46E5-8347-8D81-54D11CAFA72C}" type="presParOf" srcId="{AD9C0AEA-1637-4C48-9350-C2E1D8F1A9F1}" destId="{D620A586-4F19-2F44-ACA9-75DA69D21C35}" srcOrd="5" destOrd="0" presId="urn:microsoft.com/office/officeart/2008/layout/LinedList"/>
    <dgm:cxn modelId="{93530423-936D-2741-A6B2-7AEA14084F4B}" type="presParOf" srcId="{AD9C0AEA-1637-4C48-9350-C2E1D8F1A9F1}" destId="{4FBDCD53-59D6-0B41-B131-268E7CF3C248}" srcOrd="6" destOrd="0" presId="urn:microsoft.com/office/officeart/2008/layout/LinedList"/>
    <dgm:cxn modelId="{8465E4CB-77EF-BA42-B8A6-AD515B6D86A1}" type="presParOf" srcId="{AD9C0AEA-1637-4C48-9350-C2E1D8F1A9F1}" destId="{FEF3DC14-5DF7-4847-B2A4-09758E78567A}" srcOrd="7" destOrd="0" presId="urn:microsoft.com/office/officeart/2008/layout/LinedList"/>
    <dgm:cxn modelId="{47619B3E-6FE7-F94E-A9D7-66B5B9F95E6C}" type="presParOf" srcId="{FEF3DC14-5DF7-4847-B2A4-09758E78567A}" destId="{FB72C875-E8EE-BB49-A032-724464212467}" srcOrd="0" destOrd="0" presId="urn:microsoft.com/office/officeart/2008/layout/LinedList"/>
    <dgm:cxn modelId="{981F0135-2D20-564E-9060-64773E029F67}" type="presParOf" srcId="{FEF3DC14-5DF7-4847-B2A4-09758E78567A}" destId="{AD2ED63D-986C-444F-A615-9D89CE1459A3}" srcOrd="1" destOrd="0" presId="urn:microsoft.com/office/officeart/2008/layout/LinedList"/>
    <dgm:cxn modelId="{A2FF5A20-6491-1D49-9472-CD6995A7C6F4}" type="presParOf" srcId="{FEF3DC14-5DF7-4847-B2A4-09758E78567A}" destId="{F67FD50E-25FF-8D4D-96C1-07247C0619B9}" srcOrd="2" destOrd="0" presId="urn:microsoft.com/office/officeart/2008/layout/LinedList"/>
    <dgm:cxn modelId="{45C36CFF-02E1-BE45-B3CC-C63574682468}" type="presParOf" srcId="{AD9C0AEA-1637-4C48-9350-C2E1D8F1A9F1}" destId="{3EE65DB7-BE46-3748-A73F-BD2F027DBE82}" srcOrd="8" destOrd="0" presId="urn:microsoft.com/office/officeart/2008/layout/LinedList"/>
    <dgm:cxn modelId="{7DC6B2A8-E4FE-E744-9536-6BB0096C9FF5}" type="presParOf" srcId="{AD9C0AEA-1637-4C48-9350-C2E1D8F1A9F1}" destId="{9F791E45-C8ED-654F-873A-BDEF28741DC2}" srcOrd="9" destOrd="0" presId="urn:microsoft.com/office/officeart/2008/layout/LinedList"/>
    <dgm:cxn modelId="{5CF9D20A-ECC4-2642-82BC-06F3090C14F8}" type="presParOf" srcId="{AD9C0AEA-1637-4C48-9350-C2E1D8F1A9F1}" destId="{1B4B8DEB-2010-F54F-836C-17E67186A1CB}" srcOrd="10" destOrd="0" presId="urn:microsoft.com/office/officeart/2008/layout/LinedList"/>
    <dgm:cxn modelId="{3E6CE96D-EEF5-F44F-AA25-5C798E1F383A}" type="presParOf" srcId="{1B4B8DEB-2010-F54F-836C-17E67186A1CB}" destId="{9068D2C9-04DC-0F40-BCB2-3F75930D13F6}" srcOrd="0" destOrd="0" presId="urn:microsoft.com/office/officeart/2008/layout/LinedList"/>
    <dgm:cxn modelId="{9947D2D6-56D5-CA4C-982F-FEAD91FAC8D7}" type="presParOf" srcId="{1B4B8DEB-2010-F54F-836C-17E67186A1CB}" destId="{547E3FE9-AA99-044D-9AA9-06D584A2E8FC}" srcOrd="1" destOrd="0" presId="urn:microsoft.com/office/officeart/2008/layout/LinedList"/>
    <dgm:cxn modelId="{8F0C3E1C-6139-BA4C-8C20-79625B2C61E0}" type="presParOf" srcId="{1B4B8DEB-2010-F54F-836C-17E67186A1CB}" destId="{A11C3C68-CEA6-8141-A770-E16D48059649}" srcOrd="2" destOrd="0" presId="urn:microsoft.com/office/officeart/2008/layout/LinedList"/>
    <dgm:cxn modelId="{2D6EFD08-EE10-E64C-9D3D-B9EDBB7A0B0B}" type="presParOf" srcId="{AD9C0AEA-1637-4C48-9350-C2E1D8F1A9F1}" destId="{E50DC9A6-DC07-EB42-9FAD-8600CA01A7EC}" srcOrd="11" destOrd="0" presId="urn:microsoft.com/office/officeart/2008/layout/LinedList"/>
    <dgm:cxn modelId="{EC5D3AD7-A59F-E94D-88DB-27785F0AF296}" type="presParOf" srcId="{AD9C0AEA-1637-4C48-9350-C2E1D8F1A9F1}" destId="{83DBD6D5-A7DE-C143-9DF5-C2E3DE8AE6DA}" srcOrd="12" destOrd="0" presId="urn:microsoft.com/office/officeart/2008/layout/LinedList"/>
    <dgm:cxn modelId="{426BCA90-8DB3-CC4A-AC58-50639B68F9E3}" type="presParOf" srcId="{AD9C0AEA-1637-4C48-9350-C2E1D8F1A9F1}" destId="{4327627D-52C4-3247-A160-8B66126D50A2}" srcOrd="13" destOrd="0" presId="urn:microsoft.com/office/officeart/2008/layout/LinedList"/>
    <dgm:cxn modelId="{283B82E1-6B3F-0E4A-8F83-00C90DA304BB}" type="presParOf" srcId="{4327627D-52C4-3247-A160-8B66126D50A2}" destId="{F017AF3C-3534-5346-8026-2064F5839455}" srcOrd="0" destOrd="0" presId="urn:microsoft.com/office/officeart/2008/layout/LinedList"/>
    <dgm:cxn modelId="{0005E46E-DB6B-2141-B04F-DC5CAB62BD7B}" type="presParOf" srcId="{4327627D-52C4-3247-A160-8B66126D50A2}" destId="{5F7D0FFF-7A54-4B4C-A2F3-A9491EF04E3E}" srcOrd="1" destOrd="0" presId="urn:microsoft.com/office/officeart/2008/layout/LinedList"/>
    <dgm:cxn modelId="{73CA6674-92EC-1042-B62F-98998D37598E}" type="presParOf" srcId="{4327627D-52C4-3247-A160-8B66126D50A2}" destId="{5004D558-343E-A740-BE0B-B3D36951CC8A}" srcOrd="2" destOrd="0" presId="urn:microsoft.com/office/officeart/2008/layout/LinedList"/>
    <dgm:cxn modelId="{C428A56F-4C98-F04B-87DD-B28E4D40009A}" type="presParOf" srcId="{AD9C0AEA-1637-4C48-9350-C2E1D8F1A9F1}" destId="{72B79A3B-A992-EE46-BB36-F846438B6F7B}" srcOrd="14" destOrd="0" presId="urn:microsoft.com/office/officeart/2008/layout/LinedList"/>
    <dgm:cxn modelId="{4E9C0991-2A57-3942-84B8-938BB6F769C1}" type="presParOf" srcId="{AD9C0AEA-1637-4C48-9350-C2E1D8F1A9F1}" destId="{94E888C9-0196-DB48-953F-48C3CC09188E}" srcOrd="15" destOrd="0" presId="urn:microsoft.com/office/officeart/2008/layout/LinedList"/>
    <dgm:cxn modelId="{197ADFC1-756E-4A4A-9F0C-8AA7196E8FF0}" type="presParOf" srcId="{AD9C0AEA-1637-4C48-9350-C2E1D8F1A9F1}" destId="{A576F501-6B8F-734D-A504-646AB83BB10D}" srcOrd="16" destOrd="0" presId="urn:microsoft.com/office/officeart/2008/layout/LinedList"/>
    <dgm:cxn modelId="{9F906E5C-80F7-2946-8C63-1EC969CA1729}" type="presParOf" srcId="{A576F501-6B8F-734D-A504-646AB83BB10D}" destId="{68388026-1314-D140-96D6-3685B9277BAF}" srcOrd="0" destOrd="0" presId="urn:microsoft.com/office/officeart/2008/layout/LinedList"/>
    <dgm:cxn modelId="{A7CC1444-E2D8-844A-821C-C1E6FD525013}" type="presParOf" srcId="{A576F501-6B8F-734D-A504-646AB83BB10D}" destId="{3298FAB7-010C-D848-9C5F-BA23791DCE66}" srcOrd="1" destOrd="0" presId="urn:microsoft.com/office/officeart/2008/layout/LinedList"/>
    <dgm:cxn modelId="{815BB381-7E79-EF4F-A359-A30BD8B6D864}" type="presParOf" srcId="{A576F501-6B8F-734D-A504-646AB83BB10D}" destId="{9D405493-71AE-7C49-A4FB-D9CA392E012F}" srcOrd="2" destOrd="0" presId="urn:microsoft.com/office/officeart/2008/layout/LinedList"/>
    <dgm:cxn modelId="{BEC594CC-2F71-0B42-9000-046518B05194}" type="presParOf" srcId="{AD9C0AEA-1637-4C48-9350-C2E1D8F1A9F1}" destId="{087E8494-6829-F641-8E78-3B49B659E87D}" srcOrd="17" destOrd="0" presId="urn:microsoft.com/office/officeart/2008/layout/LinedList"/>
    <dgm:cxn modelId="{5B25D8D8-E76E-084F-AD52-5CAA9E6774FB}" type="presParOf" srcId="{AD9C0AEA-1637-4C48-9350-C2E1D8F1A9F1}" destId="{31C0833B-2B76-6D45-8A8D-F71CF65DF130}" srcOrd="18" destOrd="0" presId="urn:microsoft.com/office/officeart/2008/layout/LinedList"/>
    <dgm:cxn modelId="{BD8F8301-6B51-DE42-878F-BE32C79F2F1C}" type="presParOf" srcId="{AD9C0AEA-1637-4C48-9350-C2E1D8F1A9F1}" destId="{006C3F8B-65A5-1842-8109-FA39BCE45300}" srcOrd="19" destOrd="0" presId="urn:microsoft.com/office/officeart/2008/layout/LinedList"/>
    <dgm:cxn modelId="{CB049FA6-C6D8-5E4A-A453-B00D43637F66}" type="presParOf" srcId="{006C3F8B-65A5-1842-8109-FA39BCE45300}" destId="{869940AA-7AF1-6D4F-975A-A7BD570E9384}" srcOrd="0" destOrd="0" presId="urn:microsoft.com/office/officeart/2008/layout/LinedList"/>
    <dgm:cxn modelId="{8716A837-6F50-D740-BB23-8FA9C065B59E}" type="presParOf" srcId="{006C3F8B-65A5-1842-8109-FA39BCE45300}" destId="{BF768913-645D-984F-838D-02B98A86DA26}" srcOrd="1" destOrd="0" presId="urn:microsoft.com/office/officeart/2008/layout/LinedList"/>
    <dgm:cxn modelId="{C7121467-87D3-874B-B373-9841E2C0DBEB}" type="presParOf" srcId="{006C3F8B-65A5-1842-8109-FA39BCE45300}" destId="{171F6A6E-CCAF-CE49-B655-9E9B87E1CC83}" srcOrd="2" destOrd="0" presId="urn:microsoft.com/office/officeart/2008/layout/LinedList"/>
    <dgm:cxn modelId="{19916D46-02AE-3046-A9FB-EE08F205DB2E}" type="presParOf" srcId="{AD9C0AEA-1637-4C48-9350-C2E1D8F1A9F1}" destId="{2C83C1A0-A4F2-9A43-AB72-6C191F0C030C}" srcOrd="20" destOrd="0" presId="urn:microsoft.com/office/officeart/2008/layout/LinedList"/>
    <dgm:cxn modelId="{A4192FC3-79AE-3E46-8365-FD6F19999132}" type="presParOf" srcId="{AD9C0AEA-1637-4C48-9350-C2E1D8F1A9F1}" destId="{16BDE518-5DCA-ED45-96BE-9E5319025E71}" srcOrd="2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6228E0-3CB3-BF4B-9C25-1751546E7CD4}">
      <dsp:nvSpPr>
        <dsp:cNvPr id="0" name=""/>
        <dsp:cNvSpPr/>
      </dsp:nvSpPr>
      <dsp:spPr>
        <a:xfrm>
          <a:off x="0" y="0"/>
          <a:ext cx="1106220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BF60E87-5DE5-C64E-BD09-FE3F8321C5C1}">
      <dsp:nvSpPr>
        <dsp:cNvPr id="0" name=""/>
        <dsp:cNvSpPr/>
      </dsp:nvSpPr>
      <dsp:spPr>
        <a:xfrm>
          <a:off x="0" y="0"/>
          <a:ext cx="2807829" cy="541866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t" anchorCtr="0">
          <a:noAutofit/>
        </a:bodyPr>
        <a:lstStyle/>
        <a:p>
          <a:pPr lvl="0" algn="l" defTabSz="9334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2100" b="1" kern="1200" dirty="0">
              <a:solidFill>
                <a:schemeClr val="bg1"/>
              </a:solidFill>
            </a:rPr>
            <a:t>Система производственного планирования </a:t>
          </a:r>
        </a:p>
        <a:p>
          <a:pPr lvl="0" algn="l" defTabSz="9334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2100" b="1" kern="1200" dirty="0">
              <a:solidFill>
                <a:schemeClr val="bg1"/>
              </a:solidFill>
            </a:rPr>
            <a:t>АО «КЗОЦМ»</a:t>
          </a:r>
        </a:p>
      </dsp:txBody>
      <dsp:txXfrm>
        <a:off x="0" y="0"/>
        <a:ext cx="2807829" cy="5418667"/>
      </dsp:txXfrm>
    </dsp:sp>
    <dsp:sp modelId="{DF24BAF8-47BF-534A-A994-299896CC7D97}">
      <dsp:nvSpPr>
        <dsp:cNvPr id="0" name=""/>
        <dsp:cNvSpPr/>
      </dsp:nvSpPr>
      <dsp:spPr>
        <a:xfrm>
          <a:off x="2962419" y="36578"/>
          <a:ext cx="8090211" cy="7315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0" kern="1200" dirty="0">
              <a:solidFill>
                <a:prstClr val="black"/>
              </a:solidFill>
              <a:latin typeface="+mn-lt"/>
              <a:ea typeface="Roboto" panose="02000000000000000000" pitchFamily="2" charset="0"/>
              <a:cs typeface="+mn-cs"/>
            </a:rPr>
            <a:t>Не адаптирована к динамически изменяющимся рыночным условиям</a:t>
          </a:r>
          <a:endParaRPr lang="ru-RU" sz="1500" kern="1200" dirty="0"/>
        </a:p>
      </dsp:txBody>
      <dsp:txXfrm>
        <a:off x="2962419" y="36578"/>
        <a:ext cx="8090211" cy="731572"/>
      </dsp:txXfrm>
    </dsp:sp>
    <dsp:sp modelId="{4AE489DB-DFB9-7743-90C3-80A59A1D8402}">
      <dsp:nvSpPr>
        <dsp:cNvPr id="0" name=""/>
        <dsp:cNvSpPr/>
      </dsp:nvSpPr>
      <dsp:spPr>
        <a:xfrm>
          <a:off x="2807829" y="768151"/>
          <a:ext cx="824480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8268A05-A373-7040-8E77-5AC333088947}">
      <dsp:nvSpPr>
        <dsp:cNvPr id="0" name=""/>
        <dsp:cNvSpPr/>
      </dsp:nvSpPr>
      <dsp:spPr>
        <a:xfrm>
          <a:off x="2962419" y="804730"/>
          <a:ext cx="8090211" cy="7315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0" kern="1200" dirty="0">
              <a:solidFill>
                <a:prstClr val="black"/>
              </a:solidFill>
              <a:latin typeface="+mn-lt"/>
              <a:ea typeface="Roboto" panose="02000000000000000000" pitchFamily="2" charset="0"/>
              <a:cs typeface="+mn-cs"/>
            </a:rPr>
            <a:t>Ориентирована на равномерную загрузку всего комплекса имеющегося технологического оборудования</a:t>
          </a:r>
          <a:endParaRPr lang="ru-RU" sz="1500" kern="1200" dirty="0"/>
        </a:p>
      </dsp:txBody>
      <dsp:txXfrm>
        <a:off x="2962419" y="804730"/>
        <a:ext cx="8090211" cy="731572"/>
      </dsp:txXfrm>
    </dsp:sp>
    <dsp:sp modelId="{D620A586-4F19-2F44-ACA9-75DA69D21C35}">
      <dsp:nvSpPr>
        <dsp:cNvPr id="0" name=""/>
        <dsp:cNvSpPr/>
      </dsp:nvSpPr>
      <dsp:spPr>
        <a:xfrm>
          <a:off x="2807829" y="1536303"/>
          <a:ext cx="824480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2ED63D-986C-444F-A615-9D89CE1459A3}">
      <dsp:nvSpPr>
        <dsp:cNvPr id="0" name=""/>
        <dsp:cNvSpPr/>
      </dsp:nvSpPr>
      <dsp:spPr>
        <a:xfrm>
          <a:off x="2962419" y="1572881"/>
          <a:ext cx="8090211" cy="7315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0" kern="1200" dirty="0">
              <a:solidFill>
                <a:prstClr val="black"/>
              </a:solidFill>
              <a:latin typeface="+mn-lt"/>
              <a:ea typeface="Roboto" panose="02000000000000000000" pitchFamily="2" charset="0"/>
              <a:cs typeface="+mn-cs"/>
            </a:rPr>
            <a:t>Отсутствует механизм расчета загрузки оборудования при определении сроков изготовления</a:t>
          </a:r>
          <a:endParaRPr lang="ru-RU" sz="1500" kern="1200" dirty="0"/>
        </a:p>
      </dsp:txBody>
      <dsp:txXfrm>
        <a:off x="2962419" y="1572881"/>
        <a:ext cx="8090211" cy="731572"/>
      </dsp:txXfrm>
    </dsp:sp>
    <dsp:sp modelId="{3EE65DB7-BE46-3748-A73F-BD2F027DBE82}">
      <dsp:nvSpPr>
        <dsp:cNvPr id="0" name=""/>
        <dsp:cNvSpPr/>
      </dsp:nvSpPr>
      <dsp:spPr>
        <a:xfrm>
          <a:off x="2807829" y="2304454"/>
          <a:ext cx="824480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7E3FE9-AA99-044D-9AA9-06D584A2E8FC}">
      <dsp:nvSpPr>
        <dsp:cNvPr id="0" name=""/>
        <dsp:cNvSpPr/>
      </dsp:nvSpPr>
      <dsp:spPr>
        <a:xfrm>
          <a:off x="2962419" y="2341033"/>
          <a:ext cx="8090211" cy="7315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0" kern="1200" dirty="0">
              <a:solidFill>
                <a:prstClr val="black"/>
              </a:solidFill>
              <a:latin typeface="+mn-lt"/>
              <a:ea typeface="Roboto" panose="02000000000000000000" pitchFamily="2" charset="0"/>
              <a:cs typeface="+mn-cs"/>
            </a:rPr>
            <a:t>Планирование хода производства выполняют инженеры производственного планирования</a:t>
          </a:r>
          <a:endParaRPr lang="ru-RU" sz="1500" kern="1200" dirty="0"/>
        </a:p>
      </dsp:txBody>
      <dsp:txXfrm>
        <a:off x="2962419" y="2341033"/>
        <a:ext cx="8090211" cy="731572"/>
      </dsp:txXfrm>
    </dsp:sp>
    <dsp:sp modelId="{E50DC9A6-DC07-EB42-9FAD-8600CA01A7EC}">
      <dsp:nvSpPr>
        <dsp:cNvPr id="0" name=""/>
        <dsp:cNvSpPr/>
      </dsp:nvSpPr>
      <dsp:spPr>
        <a:xfrm>
          <a:off x="2807829" y="3072606"/>
          <a:ext cx="824480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F7D0FFF-7A54-4B4C-A2F3-A9491EF04E3E}">
      <dsp:nvSpPr>
        <dsp:cNvPr id="0" name=""/>
        <dsp:cNvSpPr/>
      </dsp:nvSpPr>
      <dsp:spPr>
        <a:xfrm>
          <a:off x="2962419" y="3109185"/>
          <a:ext cx="8090211" cy="7315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0" kern="1200">
              <a:solidFill>
                <a:prstClr val="black"/>
              </a:solidFill>
              <a:latin typeface="+mn-lt"/>
              <a:ea typeface="Roboto" panose="02000000000000000000" pitchFamily="2" charset="0"/>
              <a:cs typeface="+mn-cs"/>
            </a:rPr>
            <a:t>Автоматизированные системы, способные облегчить «ручной труд» и снизить долю влияния «человеческого» фактора, не применяются</a:t>
          </a:r>
          <a:endParaRPr lang="ru-RU" sz="1500" kern="1200" dirty="0"/>
        </a:p>
      </dsp:txBody>
      <dsp:txXfrm>
        <a:off x="2962419" y="3109185"/>
        <a:ext cx="8090211" cy="731572"/>
      </dsp:txXfrm>
    </dsp:sp>
    <dsp:sp modelId="{72B79A3B-A992-EE46-BB36-F846438B6F7B}">
      <dsp:nvSpPr>
        <dsp:cNvPr id="0" name=""/>
        <dsp:cNvSpPr/>
      </dsp:nvSpPr>
      <dsp:spPr>
        <a:xfrm>
          <a:off x="2807829" y="3840758"/>
          <a:ext cx="824480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298FAB7-010C-D848-9C5F-BA23791DCE66}">
      <dsp:nvSpPr>
        <dsp:cNvPr id="0" name=""/>
        <dsp:cNvSpPr/>
      </dsp:nvSpPr>
      <dsp:spPr>
        <a:xfrm>
          <a:off x="2962419" y="3877336"/>
          <a:ext cx="8090211" cy="7315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0" kern="1200" dirty="0">
              <a:solidFill>
                <a:prstClr val="black"/>
              </a:solidFill>
              <a:latin typeface="+mn-lt"/>
              <a:ea typeface="Roboto" panose="02000000000000000000" pitchFamily="2" charset="0"/>
              <a:cs typeface="+mn-cs"/>
            </a:rPr>
            <a:t>Большое количество и вариабельность ежемесячных заказов, что затрудняет ежедневный контроль выполнения каждой позиции, а также требует увеличение запасов НЗП</a:t>
          </a:r>
          <a:endParaRPr lang="ru-RU" sz="1500" kern="1200" dirty="0"/>
        </a:p>
      </dsp:txBody>
      <dsp:txXfrm>
        <a:off x="2962419" y="3877336"/>
        <a:ext cx="8090211" cy="731572"/>
      </dsp:txXfrm>
    </dsp:sp>
    <dsp:sp modelId="{087E8494-6829-F641-8E78-3B49B659E87D}">
      <dsp:nvSpPr>
        <dsp:cNvPr id="0" name=""/>
        <dsp:cNvSpPr/>
      </dsp:nvSpPr>
      <dsp:spPr>
        <a:xfrm>
          <a:off x="2807829" y="4608909"/>
          <a:ext cx="824480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768913-645D-984F-838D-02B98A86DA26}">
      <dsp:nvSpPr>
        <dsp:cNvPr id="0" name=""/>
        <dsp:cNvSpPr/>
      </dsp:nvSpPr>
      <dsp:spPr>
        <a:xfrm>
          <a:off x="2962419" y="4645488"/>
          <a:ext cx="8090211" cy="7315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0" kern="1200" dirty="0">
              <a:solidFill>
                <a:prstClr val="black"/>
              </a:solidFill>
              <a:latin typeface="+mn-lt"/>
              <a:ea typeface="Roboto" panose="02000000000000000000" pitchFamily="2" charset="0"/>
              <a:cs typeface="+mn-cs"/>
            </a:rPr>
            <a:t>Высокая вариативность распределения технологических потоков</a:t>
          </a:r>
          <a:endParaRPr lang="ru-RU" sz="1500" kern="1200" dirty="0"/>
        </a:p>
      </dsp:txBody>
      <dsp:txXfrm>
        <a:off x="2962419" y="4645488"/>
        <a:ext cx="8090211" cy="731572"/>
      </dsp:txXfrm>
    </dsp:sp>
    <dsp:sp modelId="{2C83C1A0-A4F2-9A43-AB72-6C191F0C030C}">
      <dsp:nvSpPr>
        <dsp:cNvPr id="0" name=""/>
        <dsp:cNvSpPr/>
      </dsp:nvSpPr>
      <dsp:spPr>
        <a:xfrm>
          <a:off x="2807829" y="5377061"/>
          <a:ext cx="824480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29837" cy="49885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2" y="0"/>
            <a:ext cx="2929837" cy="49885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7C5BC7-36D6-4089-A588-2E9F00B76083}" type="datetimeFigureOut">
              <a:rPr lang="ru-RU" smtClean="0"/>
              <a:t>17.1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84834"/>
            <a:ext cx="5408930" cy="391486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3663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2" y="9443663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DEC12B-A1FF-4FA1-85F5-7B4735F4AB7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16777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3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6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7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8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0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4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1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4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2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4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3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4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2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5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6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pn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27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28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pn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29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34.emf"/><Relationship Id="rId4" Type="http://schemas.openxmlformats.org/officeDocument/2006/relationships/oleObject" Target="../embeddings/oleObject30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pn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31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png"/><Relationship Id="rId5" Type="http://schemas.openxmlformats.org/officeDocument/2006/relationships/image" Target="../media/image36.emf"/><Relationship Id="rId4" Type="http://schemas.openxmlformats.org/officeDocument/2006/relationships/oleObject" Target="../embeddings/oleObject32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3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34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.png"/><Relationship Id="rId5" Type="http://schemas.openxmlformats.org/officeDocument/2006/relationships/image" Target="../media/image39.emf"/><Relationship Id="rId4" Type="http://schemas.openxmlformats.org/officeDocument/2006/relationships/oleObject" Target="../embeddings/oleObject35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.png"/><Relationship Id="rId5" Type="http://schemas.openxmlformats.org/officeDocument/2006/relationships/image" Target="../media/image40.emf"/><Relationship Id="rId4" Type="http://schemas.openxmlformats.org/officeDocument/2006/relationships/oleObject" Target="../embeddings/oleObject36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3.pn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37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3.png"/><Relationship Id="rId5" Type="http://schemas.openxmlformats.org/officeDocument/2006/relationships/image" Target="../media/image42.emf"/><Relationship Id="rId4" Type="http://schemas.openxmlformats.org/officeDocument/2006/relationships/oleObject" Target="../embeddings/oleObject38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3.png"/><Relationship Id="rId5" Type="http://schemas.openxmlformats.org/officeDocument/2006/relationships/image" Target="../media/image43.emf"/><Relationship Id="rId4" Type="http://schemas.openxmlformats.org/officeDocument/2006/relationships/oleObject" Target="../embeddings/oleObject39.bin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0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1.bin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3.png"/><Relationship Id="rId5" Type="http://schemas.openxmlformats.org/officeDocument/2006/relationships/image" Target="../media/image44.emf"/><Relationship Id="rId4" Type="http://schemas.openxmlformats.org/officeDocument/2006/relationships/oleObject" Target="../embeddings/oleObject42.bin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3.png"/><Relationship Id="rId5" Type="http://schemas.openxmlformats.org/officeDocument/2006/relationships/image" Target="../media/image45.emf"/><Relationship Id="rId4" Type="http://schemas.openxmlformats.org/officeDocument/2006/relationships/oleObject" Target="../embeddings/oleObject4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3.png"/><Relationship Id="rId5" Type="http://schemas.openxmlformats.org/officeDocument/2006/relationships/image" Target="../media/image46.emf"/><Relationship Id="rId4" Type="http://schemas.openxmlformats.org/officeDocument/2006/relationships/oleObject" Target="../embeddings/oleObject4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5.bin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стер-слайд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C0AA46F0-EFAB-2347-98F5-5E55DE446E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C0AA46F0-EFAB-2347-98F5-5E55DE446E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C1B4EF-64D7-894B-8937-1E4CB50F3D07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Текст 2">
            <a:extLst>
              <a:ext uri="{FF2B5EF4-FFF2-40B4-BE49-F238E27FC236}">
                <a16:creationId xmlns:a16="http://schemas.microsoft.com/office/drawing/2014/main" id="{BC9D3F86-46AF-B148-81A5-CE22C9BB66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763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</p:spTree>
    <p:extLst>
      <p:ext uri="{BB962C8B-B14F-4D97-AF65-F5344CB8AC3E}">
        <p14:creationId xmlns:p14="http://schemas.microsoft.com/office/powerpoint/2010/main" val="39581745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2/3 градиент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61F4C62-7735-054B-B3F9-972F97076C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B61F4C62-7735-054B-B3F9-972F97076C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Полилиния 24">
            <a:extLst>
              <a:ext uri="{FF2B5EF4-FFF2-40B4-BE49-F238E27FC236}">
                <a16:creationId xmlns:a16="http://schemas.microsoft.com/office/drawing/2014/main" id="{0CB11AFE-9411-2044-8A46-6AC5FEF2BEAC}"/>
              </a:ext>
            </a:extLst>
          </p:cNvPr>
          <p:cNvSpPr/>
          <p:nvPr userDrawn="1"/>
        </p:nvSpPr>
        <p:spPr>
          <a:xfrm rot="5400000">
            <a:off x="4208248" y="-1101253"/>
            <a:ext cx="6882498" cy="9085006"/>
          </a:xfrm>
          <a:custGeom>
            <a:avLst/>
            <a:gdLst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75352 w 6858000"/>
              <a:gd name="connsiteY4" fmla="*/ 7944464 h 9085006"/>
              <a:gd name="connsiteX5" fmla="*/ 0 w 6858000"/>
              <a:gd name="connsiteY5" fmla="*/ 9085006 h 9085006"/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14392 w 6858000"/>
              <a:gd name="connsiteY4" fmla="*/ 7913984 h 9085006"/>
              <a:gd name="connsiteX5" fmla="*/ 0 w 6858000"/>
              <a:gd name="connsiteY5" fmla="*/ 9085006 h 9085006"/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28906 w 6858000"/>
              <a:gd name="connsiteY4" fmla="*/ 8138955 h 9085006"/>
              <a:gd name="connsiteX5" fmla="*/ 0 w 6858000"/>
              <a:gd name="connsiteY5" fmla="*/ 9085006 h 9085006"/>
              <a:gd name="connsiteX0" fmla="*/ 0 w 6882493"/>
              <a:gd name="connsiteY0" fmla="*/ 9085006 h 9085006"/>
              <a:gd name="connsiteX1" fmla="*/ 0 w 6882493"/>
              <a:gd name="connsiteY1" fmla="*/ 0 h 9085006"/>
              <a:gd name="connsiteX2" fmla="*/ 6858000 w 6882493"/>
              <a:gd name="connsiteY2" fmla="*/ 0 h 9085006"/>
              <a:gd name="connsiteX3" fmla="*/ 6882493 w 6882493"/>
              <a:gd name="connsiteY3" fmla="*/ 9070911 h 9085006"/>
              <a:gd name="connsiteX4" fmla="*/ 3428906 w 6882493"/>
              <a:gd name="connsiteY4" fmla="*/ 8138955 h 9085006"/>
              <a:gd name="connsiteX5" fmla="*/ 0 w 6882493"/>
              <a:gd name="connsiteY5" fmla="*/ 9085006 h 9085006"/>
              <a:gd name="connsiteX0" fmla="*/ 0 w 6874331"/>
              <a:gd name="connsiteY0" fmla="*/ 9085006 h 9085006"/>
              <a:gd name="connsiteX1" fmla="*/ 0 w 6874331"/>
              <a:gd name="connsiteY1" fmla="*/ 0 h 9085006"/>
              <a:gd name="connsiteX2" fmla="*/ 6858000 w 6874331"/>
              <a:gd name="connsiteY2" fmla="*/ 0 h 9085006"/>
              <a:gd name="connsiteX3" fmla="*/ 6874331 w 6874331"/>
              <a:gd name="connsiteY3" fmla="*/ 9062747 h 9085006"/>
              <a:gd name="connsiteX4" fmla="*/ 3428906 w 6874331"/>
              <a:gd name="connsiteY4" fmla="*/ 8138955 h 9085006"/>
              <a:gd name="connsiteX5" fmla="*/ 0 w 6874331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28906 w 6882498"/>
              <a:gd name="connsiteY4" fmla="*/ 8138955 h 9085006"/>
              <a:gd name="connsiteX5" fmla="*/ 0 w 6882498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28906 w 6882498"/>
              <a:gd name="connsiteY4" fmla="*/ 8138955 h 9085006"/>
              <a:gd name="connsiteX5" fmla="*/ 0 w 6882498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55283 w 6882498"/>
              <a:gd name="connsiteY4" fmla="*/ 8130163 h 9085006"/>
              <a:gd name="connsiteX5" fmla="*/ 0 w 6882498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55283 w 6882498"/>
              <a:gd name="connsiteY4" fmla="*/ 8138955 h 9085006"/>
              <a:gd name="connsiteX5" fmla="*/ 0 w 6882498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28906 w 6882498"/>
              <a:gd name="connsiteY4" fmla="*/ 8156540 h 9085006"/>
              <a:gd name="connsiteX5" fmla="*/ 0 w 6882498"/>
              <a:gd name="connsiteY5" fmla="*/ 9085006 h 9085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82498" h="9085006">
                <a:moveTo>
                  <a:pt x="0" y="9085006"/>
                </a:moveTo>
                <a:lnTo>
                  <a:pt x="0" y="0"/>
                </a:lnTo>
                <a:lnTo>
                  <a:pt x="6858000" y="0"/>
                </a:lnTo>
                <a:cubicBezTo>
                  <a:pt x="6866164" y="3023637"/>
                  <a:pt x="6874334" y="6055439"/>
                  <a:pt x="6882498" y="9079076"/>
                </a:cubicBezTo>
                <a:lnTo>
                  <a:pt x="3428906" y="8156540"/>
                </a:lnTo>
                <a:lnTo>
                  <a:pt x="0" y="9085006"/>
                </a:lnTo>
                <a:close/>
              </a:path>
            </a:pathLst>
          </a:custGeom>
          <a:gradFill flip="none" rotWithShape="1">
            <a:gsLst>
              <a:gs pos="100000">
                <a:schemeClr val="accent1"/>
              </a:gs>
              <a:gs pos="0">
                <a:schemeClr val="accent3"/>
              </a:gs>
            </a:gsLst>
            <a:lin ang="189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787A8BF8-8B64-7345-B8D8-D2B005A404F1}"/>
              </a:ext>
            </a:extLst>
          </p:cNvPr>
          <p:cNvGrpSpPr/>
          <p:nvPr userDrawn="1"/>
        </p:nvGrpSpPr>
        <p:grpSpPr>
          <a:xfrm>
            <a:off x="2924849" y="0"/>
            <a:ext cx="1127505" cy="6876000"/>
            <a:chOff x="3945699" y="0"/>
            <a:chExt cx="1127505" cy="6876000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503AA737-7731-5D4B-93E9-8170425CDD10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12E1EB47-C8D5-324D-A43E-748FF75CD008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997164FA-3D79-8B47-AE07-4FA8C5D58C3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4" name="Заголовок 16">
            <a:extLst>
              <a:ext uri="{FF2B5EF4-FFF2-40B4-BE49-F238E27FC236}">
                <a16:creationId xmlns:a16="http://schemas.microsoft.com/office/drawing/2014/main" id="{9BB290FA-0BE0-FF40-A96B-5BE20DC037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2018961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8802F073-65C6-D84E-933F-CC5D06A78CD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2026007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4F4F6C43-8A86-D747-AC1B-5F7BD5E807F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EFCF5145-1BA6-D741-8DAD-6CF2FFCBCFE9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E817CBE-2F70-0546-BC57-D869DBF7B28C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tx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21485777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1/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00137109-3779-E74D-A50A-BAD2E6958E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00137109-3779-E74D-A50A-BAD2E6958E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олилиния 14">
            <a:extLst>
              <a:ext uri="{FF2B5EF4-FFF2-40B4-BE49-F238E27FC236}">
                <a16:creationId xmlns:a16="http://schemas.microsoft.com/office/drawing/2014/main" id="{83C1CB54-B30C-8443-AF30-7FD7D4FB9756}"/>
              </a:ext>
            </a:extLst>
          </p:cNvPr>
          <p:cNvSpPr/>
          <p:nvPr userDrawn="1"/>
        </p:nvSpPr>
        <p:spPr>
          <a:xfrm>
            <a:off x="5608219" y="0"/>
            <a:ext cx="6583781" cy="6858000"/>
          </a:xfrm>
          <a:custGeom>
            <a:avLst/>
            <a:gdLst>
              <a:gd name="connsiteX0" fmla="*/ 0 w 6583781"/>
              <a:gd name="connsiteY0" fmla="*/ 0 h 6858000"/>
              <a:gd name="connsiteX1" fmla="*/ 6583781 w 6583781"/>
              <a:gd name="connsiteY1" fmla="*/ 0 h 6858000"/>
              <a:gd name="connsiteX2" fmla="*/ 6583781 w 6583781"/>
              <a:gd name="connsiteY2" fmla="*/ 6858000 h 6858000"/>
              <a:gd name="connsiteX3" fmla="*/ 30423 w 6583781"/>
              <a:gd name="connsiteY3" fmla="*/ 6858000 h 6858000"/>
              <a:gd name="connsiteX4" fmla="*/ 1171022 w 6583781"/>
              <a:gd name="connsiteY4" fmla="*/ 3414392 h 6858000"/>
              <a:gd name="connsiteX5" fmla="*/ 0 w 6583781"/>
              <a:gd name="connsiteY5" fmla="*/ 0 h 6858000"/>
              <a:gd name="connsiteX0" fmla="*/ 0 w 6583781"/>
              <a:gd name="connsiteY0" fmla="*/ 0 h 6858000"/>
              <a:gd name="connsiteX1" fmla="*/ 6583781 w 6583781"/>
              <a:gd name="connsiteY1" fmla="*/ 0 h 6858000"/>
              <a:gd name="connsiteX2" fmla="*/ 6583781 w 6583781"/>
              <a:gd name="connsiteY2" fmla="*/ 6858000 h 6858000"/>
              <a:gd name="connsiteX3" fmla="*/ 30423 w 6583781"/>
              <a:gd name="connsiteY3" fmla="*/ 6858000 h 6858000"/>
              <a:gd name="connsiteX4" fmla="*/ 889668 w 6583781"/>
              <a:gd name="connsiteY4" fmla="*/ 3431977 h 6858000"/>
              <a:gd name="connsiteX5" fmla="*/ 0 w 658378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83781" h="6858000">
                <a:moveTo>
                  <a:pt x="0" y="0"/>
                </a:moveTo>
                <a:lnTo>
                  <a:pt x="6583781" y="0"/>
                </a:lnTo>
                <a:lnTo>
                  <a:pt x="6583781" y="6858000"/>
                </a:lnTo>
                <a:lnTo>
                  <a:pt x="30423" y="6858000"/>
                </a:lnTo>
                <a:lnTo>
                  <a:pt x="889668" y="3431977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D9E37F7E-C336-9643-AC5D-D0FE6DDD67EF}"/>
              </a:ext>
            </a:extLst>
          </p:cNvPr>
          <p:cNvGrpSpPr/>
          <p:nvPr userDrawn="1"/>
        </p:nvGrpSpPr>
        <p:grpSpPr>
          <a:xfrm>
            <a:off x="5436180" y="0"/>
            <a:ext cx="1127505" cy="6876000"/>
            <a:chOff x="3945699" y="0"/>
            <a:chExt cx="1127505" cy="6876000"/>
          </a:xfrm>
        </p:grpSpPr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6C324F41-AF03-884E-8654-6E6664AB8733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512D1BF3-1C93-CE45-8DB2-34E0032C5AC3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470E4419-0151-D940-97ED-C434154021D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B5CA5854-7C33-0F4E-9038-C1C13F4ABB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4530292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881D8B47-EB7C-6649-BF93-51455D9DB8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8" y="6359240"/>
            <a:ext cx="4484244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583FD54A-88D9-B845-A3A6-718A291D6967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F921445E-F72C-C24D-90CE-E133ECE97A0C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02B306DE-382D-7849-B66D-0EEE39DFB747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438931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1/2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69CBA11B-339F-4343-A51B-93F6F783B1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69CBA11B-339F-4343-A51B-93F6F783B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олилиния 13">
            <a:extLst>
              <a:ext uri="{FF2B5EF4-FFF2-40B4-BE49-F238E27FC236}">
                <a16:creationId xmlns:a16="http://schemas.microsoft.com/office/drawing/2014/main" id="{95D8B76D-246E-4242-9780-F969AA656163}"/>
              </a:ext>
            </a:extLst>
          </p:cNvPr>
          <p:cNvSpPr/>
          <p:nvPr userDrawn="1"/>
        </p:nvSpPr>
        <p:spPr>
          <a:xfrm>
            <a:off x="5608219" y="0"/>
            <a:ext cx="6583781" cy="6858000"/>
          </a:xfrm>
          <a:custGeom>
            <a:avLst/>
            <a:gdLst>
              <a:gd name="connsiteX0" fmla="*/ 0 w 6583781"/>
              <a:gd name="connsiteY0" fmla="*/ 0 h 6858000"/>
              <a:gd name="connsiteX1" fmla="*/ 6583781 w 6583781"/>
              <a:gd name="connsiteY1" fmla="*/ 0 h 6858000"/>
              <a:gd name="connsiteX2" fmla="*/ 6583781 w 6583781"/>
              <a:gd name="connsiteY2" fmla="*/ 6858000 h 6858000"/>
              <a:gd name="connsiteX3" fmla="*/ 30423 w 6583781"/>
              <a:gd name="connsiteY3" fmla="*/ 6858000 h 6858000"/>
              <a:gd name="connsiteX4" fmla="*/ 1171022 w 6583781"/>
              <a:gd name="connsiteY4" fmla="*/ 3414392 h 6858000"/>
              <a:gd name="connsiteX5" fmla="*/ 0 w 6583781"/>
              <a:gd name="connsiteY5" fmla="*/ 0 h 6858000"/>
              <a:gd name="connsiteX0" fmla="*/ 0 w 6583781"/>
              <a:gd name="connsiteY0" fmla="*/ 0 h 6858000"/>
              <a:gd name="connsiteX1" fmla="*/ 6583781 w 6583781"/>
              <a:gd name="connsiteY1" fmla="*/ 0 h 6858000"/>
              <a:gd name="connsiteX2" fmla="*/ 6583781 w 6583781"/>
              <a:gd name="connsiteY2" fmla="*/ 6858000 h 6858000"/>
              <a:gd name="connsiteX3" fmla="*/ 30423 w 6583781"/>
              <a:gd name="connsiteY3" fmla="*/ 6858000 h 6858000"/>
              <a:gd name="connsiteX4" fmla="*/ 889668 w 6583781"/>
              <a:gd name="connsiteY4" fmla="*/ 3431977 h 6858000"/>
              <a:gd name="connsiteX5" fmla="*/ 0 w 658378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83781" h="6858000">
                <a:moveTo>
                  <a:pt x="0" y="0"/>
                </a:moveTo>
                <a:lnTo>
                  <a:pt x="6583781" y="0"/>
                </a:lnTo>
                <a:lnTo>
                  <a:pt x="6583781" y="6858000"/>
                </a:lnTo>
                <a:lnTo>
                  <a:pt x="30423" y="6858000"/>
                </a:lnTo>
                <a:lnTo>
                  <a:pt x="889668" y="3431977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B6BCBCD4-687C-B942-A7C2-195FA422A45D}"/>
              </a:ext>
            </a:extLst>
          </p:cNvPr>
          <p:cNvGrpSpPr/>
          <p:nvPr userDrawn="1"/>
        </p:nvGrpSpPr>
        <p:grpSpPr>
          <a:xfrm>
            <a:off x="5436180" y="0"/>
            <a:ext cx="1127505" cy="6876000"/>
            <a:chOff x="3945699" y="0"/>
            <a:chExt cx="1127505" cy="6876000"/>
          </a:xfrm>
        </p:grpSpPr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44BEE77A-ECE5-9849-966B-ADB933E20C59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id="{3160A6F8-107F-B64B-9A0D-D4C75BA521F9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A3DCF0A5-E023-7044-BA92-FB88CBEF22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5" name="Заголовок 16">
            <a:extLst>
              <a:ext uri="{FF2B5EF4-FFF2-40B4-BE49-F238E27FC236}">
                <a16:creationId xmlns:a16="http://schemas.microsoft.com/office/drawing/2014/main" id="{0CDC513E-0CE6-1F41-8110-6F28BDD1B7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4530292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D611BEAC-70B9-344B-A434-68FE15195B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8" y="6359240"/>
            <a:ext cx="4484244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EFE53861-EA93-B74C-83AD-DDA0FF9DF0D7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A0D4C207-E31F-0D4F-B51E-43EF9953B4D0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F0036A70-831E-A143-B5D4-B6AB77EC5AF4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tx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24178111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1/3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олилиния 13">
            <a:extLst>
              <a:ext uri="{FF2B5EF4-FFF2-40B4-BE49-F238E27FC236}">
                <a16:creationId xmlns:a16="http://schemas.microsoft.com/office/drawing/2014/main" id="{B73C5764-6228-A64E-8D79-ACA932C1457A}"/>
              </a:ext>
            </a:extLst>
          </p:cNvPr>
          <p:cNvSpPr/>
          <p:nvPr userDrawn="1"/>
        </p:nvSpPr>
        <p:spPr>
          <a:xfrm>
            <a:off x="7867461" y="0"/>
            <a:ext cx="4324539" cy="6858000"/>
          </a:xfrm>
          <a:custGeom>
            <a:avLst/>
            <a:gdLst>
              <a:gd name="connsiteX0" fmla="*/ 0 w 4238145"/>
              <a:gd name="connsiteY0" fmla="*/ 0 h 6858000"/>
              <a:gd name="connsiteX1" fmla="*/ 4238145 w 4238145"/>
              <a:gd name="connsiteY1" fmla="*/ 0 h 6858000"/>
              <a:gd name="connsiteX2" fmla="*/ 4238145 w 4238145"/>
              <a:gd name="connsiteY2" fmla="*/ 6858000 h 6858000"/>
              <a:gd name="connsiteX3" fmla="*/ 30423 w 4238145"/>
              <a:gd name="connsiteY3" fmla="*/ 6858000 h 6858000"/>
              <a:gd name="connsiteX4" fmla="*/ 1171022 w 4238145"/>
              <a:gd name="connsiteY4" fmla="*/ 3414392 h 6858000"/>
              <a:gd name="connsiteX5" fmla="*/ 0 w 4238145"/>
              <a:gd name="connsiteY5" fmla="*/ 0 h 6858000"/>
              <a:gd name="connsiteX0" fmla="*/ 0 w 4238145"/>
              <a:gd name="connsiteY0" fmla="*/ 0 h 6858000"/>
              <a:gd name="connsiteX1" fmla="*/ 4238145 w 4238145"/>
              <a:gd name="connsiteY1" fmla="*/ 0 h 6858000"/>
              <a:gd name="connsiteX2" fmla="*/ 4238145 w 4238145"/>
              <a:gd name="connsiteY2" fmla="*/ 6858000 h 6858000"/>
              <a:gd name="connsiteX3" fmla="*/ 30423 w 4238145"/>
              <a:gd name="connsiteY3" fmla="*/ 6858000 h 6858000"/>
              <a:gd name="connsiteX4" fmla="*/ 863204 w 4238145"/>
              <a:gd name="connsiteY4" fmla="*/ 3414392 h 6858000"/>
              <a:gd name="connsiteX5" fmla="*/ 0 w 4238145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38145" h="6858000">
                <a:moveTo>
                  <a:pt x="0" y="0"/>
                </a:moveTo>
                <a:lnTo>
                  <a:pt x="4238145" y="0"/>
                </a:lnTo>
                <a:lnTo>
                  <a:pt x="4238145" y="6858000"/>
                </a:lnTo>
                <a:lnTo>
                  <a:pt x="30423" y="6858000"/>
                </a:lnTo>
                <a:lnTo>
                  <a:pt x="863204" y="341439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7E450DD2-28F5-D947-A104-00BF2053FC43}"/>
              </a:ext>
            </a:extLst>
          </p:cNvPr>
          <p:cNvGrpSpPr/>
          <p:nvPr userDrawn="1"/>
        </p:nvGrpSpPr>
        <p:grpSpPr>
          <a:xfrm>
            <a:off x="7700393" y="0"/>
            <a:ext cx="1127505" cy="6876000"/>
            <a:chOff x="3945699" y="0"/>
            <a:chExt cx="1127505" cy="6876000"/>
          </a:xfrm>
        </p:grpSpPr>
        <p:sp>
          <p:nvSpPr>
            <p:cNvPr id="15" name="Нашивка 14">
              <a:extLst>
                <a:ext uri="{FF2B5EF4-FFF2-40B4-BE49-F238E27FC236}">
                  <a16:creationId xmlns:a16="http://schemas.microsoft.com/office/drawing/2014/main" id="{DBAFEF0B-B938-F747-AA7D-B42D5762CA62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95B84EB3-72B9-E24B-83A0-B4E4F32A624A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2B0DC16F-F84B-834E-9351-53EC390BD1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2D5A29B1-A881-4045-93B2-D4CD3FFCD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5" y="402822"/>
            <a:ext cx="6794505" cy="68580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4FCF6F75-CDFE-5949-A756-FBF1DFE0E3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0BB92506-89F4-1C47-BC01-EF0FC7D21D3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AAEA8BC5-FDA6-2F47-A42D-A1F412C35823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87440636-FBEA-9C4A-BD85-538C703A4139}"/>
              </a:ext>
            </a:extLst>
          </p:cNvPr>
          <p:cNvSpPr/>
          <p:nvPr userDrawn="1"/>
        </p:nvSpPr>
        <p:spPr>
          <a:xfrm>
            <a:off x="8730916" y="6403462"/>
            <a:ext cx="230555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8844551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1/3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728AC313-AE0F-7240-97AF-55E3100A0A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728AC313-AE0F-7240-97AF-55E3100A0A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олилиния 14">
            <a:extLst>
              <a:ext uri="{FF2B5EF4-FFF2-40B4-BE49-F238E27FC236}">
                <a16:creationId xmlns:a16="http://schemas.microsoft.com/office/drawing/2014/main" id="{3E4394A5-8516-5C4F-93B1-59FD8825F990}"/>
              </a:ext>
            </a:extLst>
          </p:cNvPr>
          <p:cNvSpPr/>
          <p:nvPr userDrawn="1"/>
        </p:nvSpPr>
        <p:spPr>
          <a:xfrm>
            <a:off x="7867461" y="0"/>
            <a:ext cx="4324539" cy="6858000"/>
          </a:xfrm>
          <a:custGeom>
            <a:avLst/>
            <a:gdLst>
              <a:gd name="connsiteX0" fmla="*/ 0 w 4238145"/>
              <a:gd name="connsiteY0" fmla="*/ 0 h 6858000"/>
              <a:gd name="connsiteX1" fmla="*/ 4238145 w 4238145"/>
              <a:gd name="connsiteY1" fmla="*/ 0 h 6858000"/>
              <a:gd name="connsiteX2" fmla="*/ 4238145 w 4238145"/>
              <a:gd name="connsiteY2" fmla="*/ 6858000 h 6858000"/>
              <a:gd name="connsiteX3" fmla="*/ 30423 w 4238145"/>
              <a:gd name="connsiteY3" fmla="*/ 6858000 h 6858000"/>
              <a:gd name="connsiteX4" fmla="*/ 1171022 w 4238145"/>
              <a:gd name="connsiteY4" fmla="*/ 3414392 h 6858000"/>
              <a:gd name="connsiteX5" fmla="*/ 0 w 4238145"/>
              <a:gd name="connsiteY5" fmla="*/ 0 h 6858000"/>
              <a:gd name="connsiteX0" fmla="*/ 0 w 4238145"/>
              <a:gd name="connsiteY0" fmla="*/ 0 h 6858000"/>
              <a:gd name="connsiteX1" fmla="*/ 4238145 w 4238145"/>
              <a:gd name="connsiteY1" fmla="*/ 0 h 6858000"/>
              <a:gd name="connsiteX2" fmla="*/ 4238145 w 4238145"/>
              <a:gd name="connsiteY2" fmla="*/ 6858000 h 6858000"/>
              <a:gd name="connsiteX3" fmla="*/ 30423 w 4238145"/>
              <a:gd name="connsiteY3" fmla="*/ 6858000 h 6858000"/>
              <a:gd name="connsiteX4" fmla="*/ 863204 w 4238145"/>
              <a:gd name="connsiteY4" fmla="*/ 3414392 h 6858000"/>
              <a:gd name="connsiteX5" fmla="*/ 0 w 4238145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38145" h="6858000">
                <a:moveTo>
                  <a:pt x="0" y="0"/>
                </a:moveTo>
                <a:lnTo>
                  <a:pt x="4238145" y="0"/>
                </a:lnTo>
                <a:lnTo>
                  <a:pt x="4238145" y="6858000"/>
                </a:lnTo>
                <a:lnTo>
                  <a:pt x="30423" y="6858000"/>
                </a:lnTo>
                <a:lnTo>
                  <a:pt x="863204" y="3414392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AC4DF46C-98E3-5A40-9CAE-0AA278B874A6}"/>
              </a:ext>
            </a:extLst>
          </p:cNvPr>
          <p:cNvGrpSpPr/>
          <p:nvPr userDrawn="1"/>
        </p:nvGrpSpPr>
        <p:grpSpPr>
          <a:xfrm>
            <a:off x="7700393" y="0"/>
            <a:ext cx="1127505" cy="6876000"/>
            <a:chOff x="3945699" y="0"/>
            <a:chExt cx="1127505" cy="6876000"/>
          </a:xfrm>
        </p:grpSpPr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8A8AECCE-0BAB-984D-A823-45462B988A31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id="{1099A9C1-5BA1-6246-BE47-2388262AA189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25B0F6C8-091D-BD40-97D5-F53C86A20C4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4" name="Заголовок 16">
            <a:extLst>
              <a:ext uri="{FF2B5EF4-FFF2-40B4-BE49-F238E27FC236}">
                <a16:creationId xmlns:a16="http://schemas.microsoft.com/office/drawing/2014/main" id="{A903A132-9B07-D44A-AFDD-0E7A30FD3C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5" y="402822"/>
            <a:ext cx="6794505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F716540C-C742-1342-996B-E961D68B10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3C37F96A-3E4F-BA4B-8A1A-82AEC35CA166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536D87D8-A92A-0646-8EF1-4BC826D6A089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23AA01FA-BEAB-E54B-8013-4B0CB49E6A59}"/>
              </a:ext>
            </a:extLst>
          </p:cNvPr>
          <p:cNvSpPr/>
          <p:nvPr userDrawn="1"/>
        </p:nvSpPr>
        <p:spPr>
          <a:xfrm>
            <a:off x="8730916" y="6403462"/>
            <a:ext cx="230555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tx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8002517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: градиент и фото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5" y="2875002"/>
            <a:ext cx="3896360" cy="1107996"/>
          </a:xfrm>
        </p:spPr>
        <p:txBody>
          <a:bodyPr lIns="0" tIns="0" rIns="0" bIns="0" anchor="ctr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id="{12C2943B-23A6-4A4F-B59D-88F37772CE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4680061"/>
            <a:ext cx="391372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4" name="Текст 6">
            <a:extLst>
              <a:ext uri="{FF2B5EF4-FFF2-40B4-BE49-F238E27FC236}">
                <a16:creationId xmlns:a16="http://schemas.microsoft.com/office/drawing/2014/main" id="{7FC04A9B-27B5-CD47-BA41-E6296863E5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3808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863A2C5F-D0EF-2345-8BA6-AB26C145E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8515" y="605322"/>
            <a:ext cx="1433478" cy="478065"/>
          </a:xfrm>
          <a:prstGeom prst="rect">
            <a:avLst/>
          </a:prstGeom>
        </p:spPr>
      </p:pic>
      <p:sp>
        <p:nvSpPr>
          <p:cNvPr id="14" name="Рисунок 21">
            <a:extLst>
              <a:ext uri="{FF2B5EF4-FFF2-40B4-BE49-F238E27FC236}">
                <a16:creationId xmlns:a16="http://schemas.microsoft.com/office/drawing/2014/main" id="{B66BD355-4C68-494D-AEE1-A0EDEC8B03F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864397" y="-2744"/>
            <a:ext cx="7317201" cy="6863489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911070 w 7317201"/>
              <a:gd name="connsiteY5" fmla="*/ 3430278 h 6844239"/>
              <a:gd name="connsiteX6" fmla="*/ 0 w 7317201"/>
              <a:gd name="connsiteY6" fmla="*/ 22866 h 6844239"/>
              <a:gd name="connsiteX7" fmla="*/ 0 w 7317201"/>
              <a:gd name="connsiteY7" fmla="*/ 0 h 6844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17201" h="6844239">
                <a:moveTo>
                  <a:pt x="0" y="0"/>
                </a:moveTo>
                <a:lnTo>
                  <a:pt x="7317201" y="0"/>
                </a:lnTo>
                <a:lnTo>
                  <a:pt x="7317201" y="6844239"/>
                </a:lnTo>
                <a:lnTo>
                  <a:pt x="0" y="6844239"/>
                </a:lnTo>
                <a:lnTo>
                  <a:pt x="0" y="6825611"/>
                </a:lnTo>
                <a:lnTo>
                  <a:pt x="911070" y="3430278"/>
                </a:lnTo>
                <a:lnTo>
                  <a:pt x="0" y="22866"/>
                </a:lnTo>
                <a:lnTo>
                  <a:pt x="0" y="0"/>
                </a:ln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85750" indent="-28575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6EF3C153-09A8-9E4A-BBBA-B55EAC5E8C9F}"/>
              </a:ext>
            </a:extLst>
          </p:cNvPr>
          <p:cNvGrpSpPr/>
          <p:nvPr userDrawn="1"/>
        </p:nvGrpSpPr>
        <p:grpSpPr>
          <a:xfrm>
            <a:off x="4653621" y="0"/>
            <a:ext cx="1127505" cy="6876000"/>
            <a:chOff x="3945699" y="0"/>
            <a:chExt cx="1127505" cy="6876000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F639392A-FFBB-9145-9448-768616538149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id="{F91A37A8-FD0D-A44E-84D1-F8FCE194948A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38232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: стрелка и фото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3418977-67EB-1441-B7C6-146BA8BA78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3418977-67EB-1441-B7C6-146BA8BA7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69D28E57-41BD-734F-ABC1-1CE649C7D8D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849997" y="-5014"/>
            <a:ext cx="7331601" cy="6865759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911070 w 7317201"/>
              <a:gd name="connsiteY5" fmla="*/ 3430278 h 6844239"/>
              <a:gd name="connsiteX6" fmla="*/ 0 w 7317201"/>
              <a:gd name="connsiteY6" fmla="*/ 22866 h 6844239"/>
              <a:gd name="connsiteX7" fmla="*/ 0 w 7317201"/>
              <a:gd name="connsiteY7" fmla="*/ 0 h 6844239"/>
              <a:gd name="connsiteX0" fmla="*/ 0 w 7353201"/>
              <a:gd name="connsiteY0" fmla="*/ 3590 h 6844239"/>
              <a:gd name="connsiteX1" fmla="*/ 7353201 w 7353201"/>
              <a:gd name="connsiteY1" fmla="*/ 0 h 6844239"/>
              <a:gd name="connsiteX2" fmla="*/ 7353201 w 7353201"/>
              <a:gd name="connsiteY2" fmla="*/ 6844239 h 6844239"/>
              <a:gd name="connsiteX3" fmla="*/ 36000 w 7353201"/>
              <a:gd name="connsiteY3" fmla="*/ 6844239 h 6844239"/>
              <a:gd name="connsiteX4" fmla="*/ 36000 w 7353201"/>
              <a:gd name="connsiteY4" fmla="*/ 6825611 h 6844239"/>
              <a:gd name="connsiteX5" fmla="*/ 947070 w 7353201"/>
              <a:gd name="connsiteY5" fmla="*/ 3430278 h 6844239"/>
              <a:gd name="connsiteX6" fmla="*/ 36000 w 7353201"/>
              <a:gd name="connsiteY6" fmla="*/ 22866 h 6844239"/>
              <a:gd name="connsiteX7" fmla="*/ 0 w 7353201"/>
              <a:gd name="connsiteY7" fmla="*/ 3590 h 6844239"/>
              <a:gd name="connsiteX0" fmla="*/ 0 w 7353201"/>
              <a:gd name="connsiteY0" fmla="*/ 5854 h 6846503"/>
              <a:gd name="connsiteX1" fmla="*/ 7353201 w 7353201"/>
              <a:gd name="connsiteY1" fmla="*/ 2264 h 6846503"/>
              <a:gd name="connsiteX2" fmla="*/ 7353201 w 7353201"/>
              <a:gd name="connsiteY2" fmla="*/ 6846503 h 6846503"/>
              <a:gd name="connsiteX3" fmla="*/ 36000 w 7353201"/>
              <a:gd name="connsiteY3" fmla="*/ 6846503 h 6846503"/>
              <a:gd name="connsiteX4" fmla="*/ 36000 w 7353201"/>
              <a:gd name="connsiteY4" fmla="*/ 6827875 h 6846503"/>
              <a:gd name="connsiteX5" fmla="*/ 947070 w 7353201"/>
              <a:gd name="connsiteY5" fmla="*/ 3432542 h 6846503"/>
              <a:gd name="connsiteX6" fmla="*/ 21600 w 7353201"/>
              <a:gd name="connsiteY6" fmla="*/ 0 h 6846503"/>
              <a:gd name="connsiteX7" fmla="*/ 0 w 7353201"/>
              <a:gd name="connsiteY7" fmla="*/ 5854 h 6846503"/>
              <a:gd name="connsiteX0" fmla="*/ 0 w 7331601"/>
              <a:gd name="connsiteY0" fmla="*/ 5854 h 6846503"/>
              <a:gd name="connsiteX1" fmla="*/ 7331601 w 7331601"/>
              <a:gd name="connsiteY1" fmla="*/ 2264 h 6846503"/>
              <a:gd name="connsiteX2" fmla="*/ 7331601 w 7331601"/>
              <a:gd name="connsiteY2" fmla="*/ 6846503 h 6846503"/>
              <a:gd name="connsiteX3" fmla="*/ 14400 w 7331601"/>
              <a:gd name="connsiteY3" fmla="*/ 6846503 h 6846503"/>
              <a:gd name="connsiteX4" fmla="*/ 14400 w 7331601"/>
              <a:gd name="connsiteY4" fmla="*/ 6827875 h 6846503"/>
              <a:gd name="connsiteX5" fmla="*/ 925470 w 7331601"/>
              <a:gd name="connsiteY5" fmla="*/ 3432542 h 6846503"/>
              <a:gd name="connsiteX6" fmla="*/ 0 w 7331601"/>
              <a:gd name="connsiteY6" fmla="*/ 0 h 6846503"/>
              <a:gd name="connsiteX7" fmla="*/ 0 w 7331601"/>
              <a:gd name="connsiteY7" fmla="*/ 5854 h 6846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31601" h="6846503">
                <a:moveTo>
                  <a:pt x="0" y="5854"/>
                </a:moveTo>
                <a:lnTo>
                  <a:pt x="7331601" y="2264"/>
                </a:lnTo>
                <a:lnTo>
                  <a:pt x="7331601" y="6846503"/>
                </a:lnTo>
                <a:lnTo>
                  <a:pt x="14400" y="6846503"/>
                </a:lnTo>
                <a:lnTo>
                  <a:pt x="14400" y="6827875"/>
                </a:lnTo>
                <a:lnTo>
                  <a:pt x="925470" y="3432542"/>
                </a:lnTo>
                <a:lnTo>
                  <a:pt x="0" y="0"/>
                </a:lnTo>
                <a:lnTo>
                  <a:pt x="0" y="5854"/>
                </a:ln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85750" indent="-28575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5" y="2875002"/>
            <a:ext cx="3896360" cy="1107996"/>
          </a:xfrm>
        </p:spPr>
        <p:txBody>
          <a:bodyPr vert="horz" lIns="0" tIns="0" rIns="0" bIns="0" anchor="ctr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id="{12C2943B-23A6-4A4F-B59D-88F37772CE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4680061"/>
            <a:ext cx="391372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4" name="Текст 6">
            <a:extLst>
              <a:ext uri="{FF2B5EF4-FFF2-40B4-BE49-F238E27FC236}">
                <a16:creationId xmlns:a16="http://schemas.microsoft.com/office/drawing/2014/main" id="{7FC04A9B-27B5-CD47-BA41-E6296863E5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3275" y="6426930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059FC77F-66CA-8846-AABE-186F1F472991}"/>
              </a:ext>
            </a:extLst>
          </p:cNvPr>
          <p:cNvGrpSpPr/>
          <p:nvPr userDrawn="1"/>
        </p:nvGrpSpPr>
        <p:grpSpPr>
          <a:xfrm>
            <a:off x="4653621" y="0"/>
            <a:ext cx="1127505" cy="6876000"/>
            <a:chOff x="3945699" y="0"/>
            <a:chExt cx="1127505" cy="6876000"/>
          </a:xfrm>
        </p:grpSpPr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1418D012-354E-E84A-B2B1-A7E7DDF8171B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5" name="Нашивка 14">
              <a:extLst>
                <a:ext uri="{FF2B5EF4-FFF2-40B4-BE49-F238E27FC236}">
                  <a16:creationId xmlns:a16="http://schemas.microsoft.com/office/drawing/2014/main" id="{83387C35-0704-BE4D-BDDD-73124C1021BF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270D203-0735-5C4D-AAFA-84DB1D3B536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515" y="605321"/>
            <a:ext cx="1433478" cy="47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3498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: прозрачный градиент и фото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E779BB7-786D-0B4A-8EAD-208A20C6C5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BE779BB7-786D-0B4A-8EAD-208A20C6C5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Рисунок 3">
            <a:extLst>
              <a:ext uri="{FF2B5EF4-FFF2-40B4-BE49-F238E27FC236}">
                <a16:creationId xmlns:a16="http://schemas.microsoft.com/office/drawing/2014/main" id="{BDF2F980-7605-2C44-92A8-68B22946F9C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5" y="3563144"/>
            <a:ext cx="5254066" cy="1661993"/>
          </a:xfrm>
        </p:spPr>
        <p:txBody>
          <a:bodyPr vert="horz"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  <a:br>
              <a:rPr lang="ru-RU" dirty="0"/>
            </a:br>
            <a:r>
              <a:rPr lang="ru-RU" dirty="0"/>
              <a:t>В 3 СТРОКИ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id="{12C2943B-23A6-4A4F-B59D-88F37772CE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634680"/>
            <a:ext cx="5277485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4" name="Текст 6">
            <a:extLst>
              <a:ext uri="{FF2B5EF4-FFF2-40B4-BE49-F238E27FC236}">
                <a16:creationId xmlns:a16="http://schemas.microsoft.com/office/drawing/2014/main" id="{7FC04A9B-27B5-CD47-BA41-E6296863E5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9895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6DC2453-126B-714E-9849-6C142052BD6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36423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: плаш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C1CC194-74B6-7545-8CD8-7FDA8524B7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EC1CC194-74B6-7545-8CD8-7FDA8524B7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>
            <a:extLst>
              <a:ext uri="{FF2B5EF4-FFF2-40B4-BE49-F238E27FC236}">
                <a16:creationId xmlns:a16="http://schemas.microsoft.com/office/drawing/2014/main" id="{6B28240E-A3EC-6A43-BADC-A2A9ED5B149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5" y="3436153"/>
            <a:ext cx="5254066" cy="1708354"/>
          </a:xfrm>
        </p:spPr>
        <p:txBody>
          <a:bodyPr vert="horz"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  <a:br>
              <a:rPr lang="ru-RU" dirty="0"/>
            </a:br>
            <a:r>
              <a:rPr lang="ru-RU" dirty="0"/>
              <a:t>В 3 СТРОКИ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id="{12C2943B-23A6-4A4F-B59D-88F37772CE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366954"/>
            <a:ext cx="5277485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4" name="Текст 6">
            <a:extLst>
              <a:ext uri="{FF2B5EF4-FFF2-40B4-BE49-F238E27FC236}">
                <a16:creationId xmlns:a16="http://schemas.microsoft.com/office/drawing/2014/main" id="{7FC04A9B-27B5-CD47-BA41-E6296863E5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5846788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</p:spTree>
    <p:extLst>
      <p:ext uri="{BB962C8B-B14F-4D97-AF65-F5344CB8AC3E}">
        <p14:creationId xmlns:p14="http://schemas.microsoft.com/office/powerpoint/2010/main" val="17918833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: градиент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B11F5C4-C9AA-4A48-8171-7867F8EF8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71E0D75-1C9A-D94E-8A7E-42607AF206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sp>
        <p:nvSpPr>
          <p:cNvPr id="11" name="Заголовок 16">
            <a:extLst>
              <a:ext uri="{FF2B5EF4-FFF2-40B4-BE49-F238E27FC236}">
                <a16:creationId xmlns:a16="http://schemas.microsoft.com/office/drawing/2014/main" id="{226960CC-ABF3-CD45-A9CB-8060B570BF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4" y="3064757"/>
            <a:ext cx="7711532" cy="553998"/>
          </a:xfrm>
        </p:spPr>
        <p:txBody>
          <a:bodyPr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12" name="Текст 18">
            <a:extLst>
              <a:ext uri="{FF2B5EF4-FFF2-40B4-BE49-F238E27FC236}">
                <a16:creationId xmlns:a16="http://schemas.microsoft.com/office/drawing/2014/main" id="{B82306DD-6F41-D247-95E0-843412512A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8515" y="5128363"/>
            <a:ext cx="7745904" cy="249299"/>
          </a:xfrm>
        </p:spPr>
        <p:txBody>
          <a:bodyPr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дпись к заголовку</a:t>
            </a:r>
          </a:p>
        </p:txBody>
      </p:sp>
      <p:sp>
        <p:nvSpPr>
          <p:cNvPr id="14" name="Текст 6">
            <a:extLst>
              <a:ext uri="{FF2B5EF4-FFF2-40B4-BE49-F238E27FC236}">
                <a16:creationId xmlns:a16="http://schemas.microsoft.com/office/drawing/2014/main" id="{414726B7-1ED0-1544-B549-4C1E2C0417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9895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E3A4212F-6126-9942-8871-478C059F4181}"/>
              </a:ext>
            </a:extLst>
          </p:cNvPr>
          <p:cNvGrpSpPr/>
          <p:nvPr userDrawn="1"/>
        </p:nvGrpSpPr>
        <p:grpSpPr>
          <a:xfrm>
            <a:off x="257894" y="3149425"/>
            <a:ext cx="361110" cy="371578"/>
            <a:chOff x="383279" y="3833472"/>
            <a:chExt cx="361110" cy="371578"/>
          </a:xfrm>
        </p:grpSpPr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64E603CC-0647-1245-8FD3-D8996680FD27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1" name="Нашивка 20">
              <a:extLst>
                <a:ext uri="{FF2B5EF4-FFF2-40B4-BE49-F238E27FC236}">
                  <a16:creationId xmlns:a16="http://schemas.microsoft.com/office/drawing/2014/main" id="{3A84CF49-BDC6-D34F-A0B2-5832246D3495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57029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стер-слайд с цифрой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2E150D18-2735-3F4F-B656-268860013B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2E150D18-2735-3F4F-B656-268860013B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Текст 5">
            <a:extLst>
              <a:ext uri="{FF2B5EF4-FFF2-40B4-BE49-F238E27FC236}">
                <a16:creationId xmlns:a16="http://schemas.microsoft.com/office/drawing/2014/main" id="{CD0E9984-F526-164F-82E1-D652506C94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3232" y="394709"/>
            <a:ext cx="344262" cy="344262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FontTx/>
              <a:buNone/>
              <a:defRPr sz="1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1" name="Скругленный прямоугольник 20">
            <a:extLst>
              <a:ext uri="{FF2B5EF4-FFF2-40B4-BE49-F238E27FC236}">
                <a16:creationId xmlns:a16="http://schemas.microsoft.com/office/drawing/2014/main" id="{FDDCCA04-AB36-CA40-8858-3A88A598261D}"/>
              </a:ext>
            </a:extLst>
          </p:cNvPr>
          <p:cNvSpPr/>
          <p:nvPr userDrawn="1"/>
        </p:nvSpPr>
        <p:spPr>
          <a:xfrm>
            <a:off x="183232" y="394708"/>
            <a:ext cx="344262" cy="344262"/>
          </a:xfrm>
          <a:prstGeom prst="round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Полилиния 17">
            <a:extLst>
              <a:ext uri="{FF2B5EF4-FFF2-40B4-BE49-F238E27FC236}">
                <a16:creationId xmlns:a16="http://schemas.microsoft.com/office/drawing/2014/main" id="{E2AFA8CC-E203-3B46-8841-08782D6612F8}"/>
              </a:ext>
            </a:extLst>
          </p:cNvPr>
          <p:cNvSpPr/>
          <p:nvPr userDrawn="1"/>
        </p:nvSpPr>
        <p:spPr>
          <a:xfrm>
            <a:off x="0" y="394708"/>
            <a:ext cx="70734" cy="344262"/>
          </a:xfrm>
          <a:custGeom>
            <a:avLst/>
            <a:gdLst>
              <a:gd name="connsiteX0" fmla="*/ 0 w 70734"/>
              <a:gd name="connsiteY0" fmla="*/ 0 h 344262"/>
              <a:gd name="connsiteX1" fmla="*/ 13356 w 70734"/>
              <a:gd name="connsiteY1" fmla="*/ 0 h 344262"/>
              <a:gd name="connsiteX2" fmla="*/ 70734 w 70734"/>
              <a:gd name="connsiteY2" fmla="*/ 57378 h 344262"/>
              <a:gd name="connsiteX3" fmla="*/ 70734 w 70734"/>
              <a:gd name="connsiteY3" fmla="*/ 286884 h 344262"/>
              <a:gd name="connsiteX4" fmla="*/ 13356 w 70734"/>
              <a:gd name="connsiteY4" fmla="*/ 344262 h 344262"/>
              <a:gd name="connsiteX5" fmla="*/ 0 w 70734"/>
              <a:gd name="connsiteY5" fmla="*/ 344262 h 344262"/>
              <a:gd name="connsiteX6" fmla="*/ 0 w 70734"/>
              <a:gd name="connsiteY6" fmla="*/ 0 h 344262"/>
              <a:gd name="connsiteX0" fmla="*/ 0 w 91440"/>
              <a:gd name="connsiteY0" fmla="*/ 0 h 344262"/>
              <a:gd name="connsiteX1" fmla="*/ 13356 w 91440"/>
              <a:gd name="connsiteY1" fmla="*/ 0 h 344262"/>
              <a:gd name="connsiteX2" fmla="*/ 70734 w 91440"/>
              <a:gd name="connsiteY2" fmla="*/ 57378 h 344262"/>
              <a:gd name="connsiteX3" fmla="*/ 70734 w 91440"/>
              <a:gd name="connsiteY3" fmla="*/ 286884 h 344262"/>
              <a:gd name="connsiteX4" fmla="*/ 13356 w 91440"/>
              <a:gd name="connsiteY4" fmla="*/ 344262 h 344262"/>
              <a:gd name="connsiteX5" fmla="*/ 0 w 91440"/>
              <a:gd name="connsiteY5" fmla="*/ 344262 h 344262"/>
              <a:gd name="connsiteX6" fmla="*/ 91440 w 91440"/>
              <a:gd name="connsiteY6" fmla="*/ 91440 h 344262"/>
              <a:gd name="connsiteX0" fmla="*/ 0 w 70734"/>
              <a:gd name="connsiteY0" fmla="*/ 0 h 344262"/>
              <a:gd name="connsiteX1" fmla="*/ 13356 w 70734"/>
              <a:gd name="connsiteY1" fmla="*/ 0 h 344262"/>
              <a:gd name="connsiteX2" fmla="*/ 70734 w 70734"/>
              <a:gd name="connsiteY2" fmla="*/ 57378 h 344262"/>
              <a:gd name="connsiteX3" fmla="*/ 70734 w 70734"/>
              <a:gd name="connsiteY3" fmla="*/ 286884 h 344262"/>
              <a:gd name="connsiteX4" fmla="*/ 13356 w 70734"/>
              <a:gd name="connsiteY4" fmla="*/ 344262 h 344262"/>
              <a:gd name="connsiteX5" fmla="*/ 0 w 70734"/>
              <a:gd name="connsiteY5" fmla="*/ 344262 h 34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0734" h="344262">
                <a:moveTo>
                  <a:pt x="0" y="0"/>
                </a:moveTo>
                <a:lnTo>
                  <a:pt x="13356" y="0"/>
                </a:lnTo>
                <a:cubicBezTo>
                  <a:pt x="45045" y="0"/>
                  <a:pt x="70734" y="25689"/>
                  <a:pt x="70734" y="57378"/>
                </a:cubicBezTo>
                <a:lnTo>
                  <a:pt x="70734" y="286884"/>
                </a:lnTo>
                <a:cubicBezTo>
                  <a:pt x="70734" y="318573"/>
                  <a:pt x="45045" y="344262"/>
                  <a:pt x="13356" y="344262"/>
                </a:cubicBezTo>
                <a:lnTo>
                  <a:pt x="0" y="344262"/>
                </a:lnTo>
              </a:path>
            </a:pathLst>
          </a:cu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74849930-4011-2E4D-B370-37F0F5CD9D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2A5ECE7-38D0-6C42-BA51-FC3A6150C19B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93280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: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0086FB1A-3CCC-2046-8432-813BAFB595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0086FB1A-3CCC-2046-8432-813BAFB595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6">
            <a:extLst>
              <a:ext uri="{FF2B5EF4-FFF2-40B4-BE49-F238E27FC236}">
                <a16:creationId xmlns:a16="http://schemas.microsoft.com/office/drawing/2014/main" id="{070C9E5A-B517-1449-BB8A-5068C78113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9895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B0B57636-21D7-FC48-AE04-4F9EC2E1C1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2700671"/>
            <a:ext cx="4693672" cy="553998"/>
          </a:xfrm>
        </p:spPr>
        <p:txBody>
          <a:bodyPr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18" name="Текст 18">
            <a:extLst>
              <a:ext uri="{FF2B5EF4-FFF2-40B4-BE49-F238E27FC236}">
                <a16:creationId xmlns:a16="http://schemas.microsoft.com/office/drawing/2014/main" id="{69633C30-2C18-D74E-859C-06DC04AECB4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8516" y="5514975"/>
            <a:ext cx="4693672" cy="249299"/>
          </a:xfrm>
        </p:spPr>
        <p:txBody>
          <a:bodyPr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дпись к заголовку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D2AA8BFC-6053-F241-9144-4D5F0CA282A8}"/>
              </a:ext>
            </a:extLst>
          </p:cNvPr>
          <p:cNvGrpSpPr/>
          <p:nvPr userDrawn="1"/>
        </p:nvGrpSpPr>
        <p:grpSpPr>
          <a:xfrm>
            <a:off x="257894" y="2777803"/>
            <a:ext cx="361110" cy="371578"/>
            <a:chOff x="383279" y="3833472"/>
            <a:chExt cx="361110" cy="371578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C6DE484C-1179-8F45-8A17-BAF641E84BC7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9" name="Нашивка 18">
              <a:extLst>
                <a:ext uri="{FF2B5EF4-FFF2-40B4-BE49-F238E27FC236}">
                  <a16:creationId xmlns:a16="http://schemas.microsoft.com/office/drawing/2014/main" id="{3E543E61-6DEB-8547-8AE8-08338B8B9218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BC0961D5-807E-F247-9E61-A1A7E3FF9A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63622" b="-3566"/>
          <a:stretch/>
        </p:blipFill>
        <p:spPr>
          <a:xfrm>
            <a:off x="6679815" y="494919"/>
            <a:ext cx="5072664" cy="481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7678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: белый 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91C3D4F6-7726-1441-A09D-CEAB99ACC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91C3D4F6-7726-1441-A09D-CEAB99ACC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6">
            <a:extLst>
              <a:ext uri="{FF2B5EF4-FFF2-40B4-BE49-F238E27FC236}">
                <a16:creationId xmlns:a16="http://schemas.microsoft.com/office/drawing/2014/main" id="{070C9E5A-B517-1449-BB8A-5068C78113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9895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B0B57636-21D7-FC48-AE04-4F9EC2E1C1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2700671"/>
            <a:ext cx="4693672" cy="553998"/>
          </a:xfrm>
        </p:spPr>
        <p:txBody>
          <a:bodyPr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18" name="Текст 18">
            <a:extLst>
              <a:ext uri="{FF2B5EF4-FFF2-40B4-BE49-F238E27FC236}">
                <a16:creationId xmlns:a16="http://schemas.microsoft.com/office/drawing/2014/main" id="{69633C30-2C18-D74E-859C-06DC04AECB4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8516" y="5514975"/>
            <a:ext cx="4693672" cy="249299"/>
          </a:xfrm>
        </p:spPr>
        <p:txBody>
          <a:bodyPr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дпись к заголовку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D2AA8BFC-6053-F241-9144-4D5F0CA282A8}"/>
              </a:ext>
            </a:extLst>
          </p:cNvPr>
          <p:cNvGrpSpPr/>
          <p:nvPr userDrawn="1"/>
        </p:nvGrpSpPr>
        <p:grpSpPr>
          <a:xfrm>
            <a:off x="257894" y="2777803"/>
            <a:ext cx="361110" cy="371578"/>
            <a:chOff x="383279" y="3833472"/>
            <a:chExt cx="361110" cy="371578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C6DE484C-1179-8F45-8A17-BAF641E84BC7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9" name="Нашивка 18">
              <a:extLst>
                <a:ext uri="{FF2B5EF4-FFF2-40B4-BE49-F238E27FC236}">
                  <a16:creationId xmlns:a16="http://schemas.microsoft.com/office/drawing/2014/main" id="{3E543E61-6DEB-8547-8AE8-08338B8B9218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013B0E8-A6E0-644A-8A2B-0E51B9CA064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19004" y="506789"/>
            <a:ext cx="1772883" cy="709153"/>
          </a:xfrm>
          <a:prstGeom prst="rect">
            <a:avLst/>
          </a:prstGeom>
        </p:spPr>
      </p:pic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52B23AF0-2BC4-4A4D-B112-24AF4341256D}"/>
              </a:ext>
            </a:extLst>
          </p:cNvPr>
          <p:cNvGrpSpPr/>
          <p:nvPr userDrawn="1"/>
        </p:nvGrpSpPr>
        <p:grpSpPr>
          <a:xfrm>
            <a:off x="7700393" y="0"/>
            <a:ext cx="1127505" cy="6876000"/>
            <a:chOff x="3945699" y="0"/>
            <a:chExt cx="1127505" cy="6876000"/>
          </a:xfrm>
        </p:grpSpPr>
        <p:sp>
          <p:nvSpPr>
            <p:cNvPr id="22" name="Нашивка 21">
              <a:extLst>
                <a:ext uri="{FF2B5EF4-FFF2-40B4-BE49-F238E27FC236}">
                  <a16:creationId xmlns:a16="http://schemas.microsoft.com/office/drawing/2014/main" id="{23D1430A-213A-A944-9098-6D27BE145501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3" name="Нашивка 22">
              <a:extLst>
                <a:ext uri="{FF2B5EF4-FFF2-40B4-BE49-F238E27FC236}">
                  <a16:creationId xmlns:a16="http://schemas.microsoft.com/office/drawing/2014/main" id="{55809EBE-656D-FC4F-9EF2-732469A03518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583816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: градиент и фото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AD6CF53-7820-784C-A38B-3C5230C8D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BAD6CF53-7820-784C-A38B-3C5230C8D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Текст 4">
            <a:extLst>
              <a:ext uri="{FF2B5EF4-FFF2-40B4-BE49-F238E27FC236}">
                <a16:creationId xmlns:a16="http://schemas.microsoft.com/office/drawing/2014/main" id="{30AFE71A-5FB6-5C40-9034-14FD8517D1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8515" y="1742134"/>
            <a:ext cx="5277485" cy="3877985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28000" b="1">
                <a:solidFill>
                  <a:schemeClr val="accent1">
                    <a:alpha val="3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69D28E57-41BD-734F-ABC1-1CE649C7D8D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32164" y="-2744"/>
            <a:ext cx="7249436" cy="6863489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0 w 7317201"/>
              <a:gd name="connsiteY6" fmla="*/ 22866 h 6844239"/>
              <a:gd name="connsiteX7" fmla="*/ 0 w 7317201"/>
              <a:gd name="connsiteY7" fmla="*/ 0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0 w 7317201"/>
              <a:gd name="connsiteY7" fmla="*/ 0 h 6844239"/>
              <a:gd name="connsiteX0" fmla="*/ 65314 w 7317201"/>
              <a:gd name="connsiteY0" fmla="*/ 11842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65314 w 7317201"/>
              <a:gd name="connsiteY7" fmla="*/ 11842 h 6844239"/>
              <a:gd name="connsiteX0" fmla="*/ 65314 w 7317201"/>
              <a:gd name="connsiteY0" fmla="*/ 11842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108048 w 7317201"/>
              <a:gd name="connsiteY4" fmla="*/ 6842708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65314 w 7317201"/>
              <a:gd name="connsiteY7" fmla="*/ 11842 h 6844239"/>
              <a:gd name="connsiteX0" fmla="*/ 0 w 7251887"/>
              <a:gd name="connsiteY0" fmla="*/ 11842 h 6844239"/>
              <a:gd name="connsiteX1" fmla="*/ 7251887 w 7251887"/>
              <a:gd name="connsiteY1" fmla="*/ 0 h 6844239"/>
              <a:gd name="connsiteX2" fmla="*/ 7251887 w 7251887"/>
              <a:gd name="connsiteY2" fmla="*/ 6844239 h 6844239"/>
              <a:gd name="connsiteX3" fmla="*/ 48421 w 7251887"/>
              <a:gd name="connsiteY3" fmla="*/ 6844239 h 6844239"/>
              <a:gd name="connsiteX4" fmla="*/ 42734 w 7251887"/>
              <a:gd name="connsiteY4" fmla="*/ 6842708 h 6844239"/>
              <a:gd name="connsiteX5" fmla="*/ 940129 w 7251887"/>
              <a:gd name="connsiteY5" fmla="*/ 3424239 h 6844239"/>
              <a:gd name="connsiteX6" fmla="*/ 1 w 7251887"/>
              <a:gd name="connsiteY6" fmla="*/ 16945 h 6844239"/>
              <a:gd name="connsiteX7" fmla="*/ 0 w 7251887"/>
              <a:gd name="connsiteY7" fmla="*/ 11842 h 6844239"/>
              <a:gd name="connsiteX0" fmla="*/ 0 w 7251887"/>
              <a:gd name="connsiteY0" fmla="*/ 11842 h 6844239"/>
              <a:gd name="connsiteX1" fmla="*/ 7251887 w 7251887"/>
              <a:gd name="connsiteY1" fmla="*/ 0 h 6844239"/>
              <a:gd name="connsiteX2" fmla="*/ 7251887 w 7251887"/>
              <a:gd name="connsiteY2" fmla="*/ 6844239 h 6844239"/>
              <a:gd name="connsiteX3" fmla="*/ 48421 w 7251887"/>
              <a:gd name="connsiteY3" fmla="*/ 6844239 h 6844239"/>
              <a:gd name="connsiteX4" fmla="*/ 42734 w 7251887"/>
              <a:gd name="connsiteY4" fmla="*/ 6842708 h 6844239"/>
              <a:gd name="connsiteX5" fmla="*/ 962688 w 7251887"/>
              <a:gd name="connsiteY5" fmla="*/ 3431775 h 6844239"/>
              <a:gd name="connsiteX6" fmla="*/ 1 w 7251887"/>
              <a:gd name="connsiteY6" fmla="*/ 16945 h 6844239"/>
              <a:gd name="connsiteX7" fmla="*/ 0 w 7251887"/>
              <a:gd name="connsiteY7" fmla="*/ 11842 h 6844239"/>
              <a:gd name="connsiteX0" fmla="*/ 47888 w 7251886"/>
              <a:gd name="connsiteY0" fmla="*/ 11842 h 6844239"/>
              <a:gd name="connsiteX1" fmla="*/ 7251886 w 7251886"/>
              <a:gd name="connsiteY1" fmla="*/ 0 h 6844239"/>
              <a:gd name="connsiteX2" fmla="*/ 7251886 w 7251886"/>
              <a:gd name="connsiteY2" fmla="*/ 6844239 h 6844239"/>
              <a:gd name="connsiteX3" fmla="*/ 48420 w 7251886"/>
              <a:gd name="connsiteY3" fmla="*/ 6844239 h 6844239"/>
              <a:gd name="connsiteX4" fmla="*/ 42733 w 7251886"/>
              <a:gd name="connsiteY4" fmla="*/ 6842708 h 6844239"/>
              <a:gd name="connsiteX5" fmla="*/ 962687 w 7251886"/>
              <a:gd name="connsiteY5" fmla="*/ 3431775 h 6844239"/>
              <a:gd name="connsiteX6" fmla="*/ 0 w 7251886"/>
              <a:gd name="connsiteY6" fmla="*/ 16945 h 6844239"/>
              <a:gd name="connsiteX7" fmla="*/ 47888 w 7251886"/>
              <a:gd name="connsiteY7" fmla="*/ 11842 h 6844239"/>
              <a:gd name="connsiteX0" fmla="*/ 9577 w 7213575"/>
              <a:gd name="connsiteY0" fmla="*/ 11842 h 6844239"/>
              <a:gd name="connsiteX1" fmla="*/ 7213575 w 7213575"/>
              <a:gd name="connsiteY1" fmla="*/ 0 h 6844239"/>
              <a:gd name="connsiteX2" fmla="*/ 7213575 w 7213575"/>
              <a:gd name="connsiteY2" fmla="*/ 6844239 h 6844239"/>
              <a:gd name="connsiteX3" fmla="*/ 10109 w 7213575"/>
              <a:gd name="connsiteY3" fmla="*/ 6844239 h 6844239"/>
              <a:gd name="connsiteX4" fmla="*/ 4422 w 7213575"/>
              <a:gd name="connsiteY4" fmla="*/ 6842708 h 6844239"/>
              <a:gd name="connsiteX5" fmla="*/ 924376 w 7213575"/>
              <a:gd name="connsiteY5" fmla="*/ 3431775 h 6844239"/>
              <a:gd name="connsiteX6" fmla="*/ 0 w 7213575"/>
              <a:gd name="connsiteY6" fmla="*/ 21745 h 6844239"/>
              <a:gd name="connsiteX7" fmla="*/ 9577 w 7213575"/>
              <a:gd name="connsiteY7" fmla="*/ 11842 h 6844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13575" h="6844239">
                <a:moveTo>
                  <a:pt x="9577" y="11842"/>
                </a:moveTo>
                <a:lnTo>
                  <a:pt x="7213575" y="0"/>
                </a:lnTo>
                <a:lnTo>
                  <a:pt x="7213575" y="6844239"/>
                </a:lnTo>
                <a:lnTo>
                  <a:pt x="10109" y="6844239"/>
                </a:lnTo>
                <a:lnTo>
                  <a:pt x="4422" y="6842708"/>
                </a:lnTo>
                <a:lnTo>
                  <a:pt x="924376" y="3431775"/>
                </a:lnTo>
                <a:lnTo>
                  <a:pt x="0" y="21745"/>
                </a:lnTo>
                <a:cubicBezTo>
                  <a:pt x="0" y="20044"/>
                  <a:pt x="9577" y="13543"/>
                  <a:pt x="9577" y="11842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85750" indent="-28575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3" name="Заголовок 16">
            <a:extLst>
              <a:ext uri="{FF2B5EF4-FFF2-40B4-BE49-F238E27FC236}">
                <a16:creationId xmlns:a16="http://schemas.microsoft.com/office/drawing/2014/main" id="{F18042FC-56AC-C44F-95AD-7D5E0BB4BC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3749040"/>
            <a:ext cx="3896360" cy="997196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8">
            <a:extLst>
              <a:ext uri="{FF2B5EF4-FFF2-40B4-BE49-F238E27FC236}">
                <a16:creationId xmlns:a16="http://schemas.microsoft.com/office/drawing/2014/main" id="{76499D1E-1954-064E-AFEC-7A917D0853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254362"/>
            <a:ext cx="391372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AA212E81-91BF-2B42-BF5F-9AC90E6B8894}"/>
              </a:ext>
            </a:extLst>
          </p:cNvPr>
          <p:cNvGrpSpPr/>
          <p:nvPr userDrawn="1"/>
        </p:nvGrpSpPr>
        <p:grpSpPr>
          <a:xfrm>
            <a:off x="227165" y="3794283"/>
            <a:ext cx="361110" cy="371578"/>
            <a:chOff x="383279" y="3833472"/>
            <a:chExt cx="361110" cy="371578"/>
          </a:xfrm>
        </p:grpSpPr>
        <p:sp>
          <p:nvSpPr>
            <p:cNvPr id="31" name="Нашивка 30">
              <a:extLst>
                <a:ext uri="{FF2B5EF4-FFF2-40B4-BE49-F238E27FC236}">
                  <a16:creationId xmlns:a16="http://schemas.microsoft.com/office/drawing/2014/main" id="{3BF1738A-8A92-1244-AA31-5698F47C8405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2" name="Нашивка 31">
              <a:extLst>
                <a:ext uri="{FF2B5EF4-FFF2-40B4-BE49-F238E27FC236}">
                  <a16:creationId xmlns:a16="http://schemas.microsoft.com/office/drawing/2014/main" id="{0B0B06F9-17C3-CE4C-91B9-5DD6284CA4EE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7BE2C2E8-BBD4-4E47-946E-23E9A3C90D7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441604F5-8083-F24B-900A-987678A018EA}"/>
              </a:ext>
            </a:extLst>
          </p:cNvPr>
          <p:cNvGrpSpPr/>
          <p:nvPr userDrawn="1"/>
        </p:nvGrpSpPr>
        <p:grpSpPr>
          <a:xfrm>
            <a:off x="4731039" y="0"/>
            <a:ext cx="1127505" cy="6876000"/>
            <a:chOff x="3945699" y="0"/>
            <a:chExt cx="1127505" cy="6876000"/>
          </a:xfrm>
        </p:grpSpPr>
        <p:sp>
          <p:nvSpPr>
            <p:cNvPr id="20" name="Нашивка 19">
              <a:extLst>
                <a:ext uri="{FF2B5EF4-FFF2-40B4-BE49-F238E27FC236}">
                  <a16:creationId xmlns:a16="http://schemas.microsoft.com/office/drawing/2014/main" id="{AE086509-BF3F-2C42-9698-208D65AE9846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1" name="Нашивка 20">
              <a:extLst>
                <a:ext uri="{FF2B5EF4-FFF2-40B4-BE49-F238E27FC236}">
                  <a16:creationId xmlns:a16="http://schemas.microsoft.com/office/drawing/2014/main" id="{500B931A-C255-0D46-8E5C-6A313DB87652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51857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: стрелка и фото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FC9CA3A5-9C66-B444-A2F9-618BFE8D5F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FC9CA3A5-9C66-B444-A2F9-618BFE8D5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Текст 4">
            <a:extLst>
              <a:ext uri="{FF2B5EF4-FFF2-40B4-BE49-F238E27FC236}">
                <a16:creationId xmlns:a16="http://schemas.microsoft.com/office/drawing/2014/main" id="{CB56F393-73DB-624A-8FB0-1CD2F3D77C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2270" y="1733258"/>
            <a:ext cx="5119944" cy="3877985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lang="ru-RU" sz="28000" b="1" kern="1200" dirty="0">
                <a:gradFill flip="none" rotWithShape="1">
                  <a:gsLst>
                    <a:gs pos="0">
                      <a:schemeClr val="accent1"/>
                    </a:gs>
                    <a:gs pos="76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№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D6E650C-492A-BD4F-B0A8-5E5FC435AE6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48769" y="486744"/>
            <a:ext cx="1772883" cy="709153"/>
          </a:xfrm>
          <a:prstGeom prst="rect">
            <a:avLst/>
          </a:prstGeom>
        </p:spPr>
      </p:pic>
      <p:sp>
        <p:nvSpPr>
          <p:cNvPr id="13" name="Заголовок 16">
            <a:extLst>
              <a:ext uri="{FF2B5EF4-FFF2-40B4-BE49-F238E27FC236}">
                <a16:creationId xmlns:a16="http://schemas.microsoft.com/office/drawing/2014/main" id="{F18042FC-56AC-C44F-95AD-7D5E0BB4BC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3751982"/>
            <a:ext cx="3896360" cy="997196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8">
            <a:extLst>
              <a:ext uri="{FF2B5EF4-FFF2-40B4-BE49-F238E27FC236}">
                <a16:creationId xmlns:a16="http://schemas.microsoft.com/office/drawing/2014/main" id="{76499D1E-1954-064E-AFEC-7A917D0853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3104" y="5227309"/>
            <a:ext cx="391372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D590FFB3-8D48-E242-8FE6-15E6CC4F4BAC}"/>
              </a:ext>
            </a:extLst>
          </p:cNvPr>
          <p:cNvGrpSpPr/>
          <p:nvPr userDrawn="1"/>
        </p:nvGrpSpPr>
        <p:grpSpPr>
          <a:xfrm>
            <a:off x="227165" y="3794283"/>
            <a:ext cx="361110" cy="371578"/>
            <a:chOff x="383279" y="3833472"/>
            <a:chExt cx="361110" cy="371578"/>
          </a:xfrm>
        </p:grpSpPr>
        <p:sp>
          <p:nvSpPr>
            <p:cNvPr id="25" name="Нашивка 24">
              <a:extLst>
                <a:ext uri="{FF2B5EF4-FFF2-40B4-BE49-F238E27FC236}">
                  <a16:creationId xmlns:a16="http://schemas.microsoft.com/office/drawing/2014/main" id="{A8CE21C9-4736-6E47-B2D3-82A9023A57BA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6" name="Нашивка 25">
              <a:extLst>
                <a:ext uri="{FF2B5EF4-FFF2-40B4-BE49-F238E27FC236}">
                  <a16:creationId xmlns:a16="http://schemas.microsoft.com/office/drawing/2014/main" id="{07203397-8F21-4B4F-AC1C-F867ADC109D7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15" name="Рисунок 21">
            <a:extLst>
              <a:ext uri="{FF2B5EF4-FFF2-40B4-BE49-F238E27FC236}">
                <a16:creationId xmlns:a16="http://schemas.microsoft.com/office/drawing/2014/main" id="{DF856EB9-ACD9-C44F-A99C-A26731BDB0E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32164" y="-15253"/>
            <a:ext cx="7259836" cy="6873254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0 w 7317201"/>
              <a:gd name="connsiteY6" fmla="*/ 22866 h 6844239"/>
              <a:gd name="connsiteX7" fmla="*/ 0 w 7317201"/>
              <a:gd name="connsiteY7" fmla="*/ 0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0 w 7317201"/>
              <a:gd name="connsiteY7" fmla="*/ 0 h 6844239"/>
              <a:gd name="connsiteX0" fmla="*/ 65314 w 7317201"/>
              <a:gd name="connsiteY0" fmla="*/ 11842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65314 w 7317201"/>
              <a:gd name="connsiteY7" fmla="*/ 11842 h 6844239"/>
              <a:gd name="connsiteX0" fmla="*/ 65314 w 7317201"/>
              <a:gd name="connsiteY0" fmla="*/ 11842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108048 w 7317201"/>
              <a:gd name="connsiteY4" fmla="*/ 6842708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65314 w 7317201"/>
              <a:gd name="connsiteY7" fmla="*/ 11842 h 6844239"/>
              <a:gd name="connsiteX0" fmla="*/ 0 w 7251887"/>
              <a:gd name="connsiteY0" fmla="*/ 11842 h 6844239"/>
              <a:gd name="connsiteX1" fmla="*/ 7251887 w 7251887"/>
              <a:gd name="connsiteY1" fmla="*/ 0 h 6844239"/>
              <a:gd name="connsiteX2" fmla="*/ 7251887 w 7251887"/>
              <a:gd name="connsiteY2" fmla="*/ 6844239 h 6844239"/>
              <a:gd name="connsiteX3" fmla="*/ 48421 w 7251887"/>
              <a:gd name="connsiteY3" fmla="*/ 6844239 h 6844239"/>
              <a:gd name="connsiteX4" fmla="*/ 42734 w 7251887"/>
              <a:gd name="connsiteY4" fmla="*/ 6842708 h 6844239"/>
              <a:gd name="connsiteX5" fmla="*/ 940129 w 7251887"/>
              <a:gd name="connsiteY5" fmla="*/ 3424239 h 6844239"/>
              <a:gd name="connsiteX6" fmla="*/ 1 w 7251887"/>
              <a:gd name="connsiteY6" fmla="*/ 16945 h 6844239"/>
              <a:gd name="connsiteX7" fmla="*/ 0 w 7251887"/>
              <a:gd name="connsiteY7" fmla="*/ 11842 h 6844239"/>
              <a:gd name="connsiteX0" fmla="*/ 0 w 7251887"/>
              <a:gd name="connsiteY0" fmla="*/ 11842 h 6844239"/>
              <a:gd name="connsiteX1" fmla="*/ 7251887 w 7251887"/>
              <a:gd name="connsiteY1" fmla="*/ 0 h 6844239"/>
              <a:gd name="connsiteX2" fmla="*/ 7251887 w 7251887"/>
              <a:gd name="connsiteY2" fmla="*/ 6844239 h 6844239"/>
              <a:gd name="connsiteX3" fmla="*/ 48421 w 7251887"/>
              <a:gd name="connsiteY3" fmla="*/ 6844239 h 6844239"/>
              <a:gd name="connsiteX4" fmla="*/ 42734 w 7251887"/>
              <a:gd name="connsiteY4" fmla="*/ 6842708 h 6844239"/>
              <a:gd name="connsiteX5" fmla="*/ 962688 w 7251887"/>
              <a:gd name="connsiteY5" fmla="*/ 3431775 h 6844239"/>
              <a:gd name="connsiteX6" fmla="*/ 1 w 7251887"/>
              <a:gd name="connsiteY6" fmla="*/ 16945 h 6844239"/>
              <a:gd name="connsiteX7" fmla="*/ 0 w 7251887"/>
              <a:gd name="connsiteY7" fmla="*/ 11842 h 6844239"/>
              <a:gd name="connsiteX0" fmla="*/ 47888 w 7251886"/>
              <a:gd name="connsiteY0" fmla="*/ 11842 h 6844239"/>
              <a:gd name="connsiteX1" fmla="*/ 7251886 w 7251886"/>
              <a:gd name="connsiteY1" fmla="*/ 0 h 6844239"/>
              <a:gd name="connsiteX2" fmla="*/ 7251886 w 7251886"/>
              <a:gd name="connsiteY2" fmla="*/ 6844239 h 6844239"/>
              <a:gd name="connsiteX3" fmla="*/ 48420 w 7251886"/>
              <a:gd name="connsiteY3" fmla="*/ 6844239 h 6844239"/>
              <a:gd name="connsiteX4" fmla="*/ 42733 w 7251886"/>
              <a:gd name="connsiteY4" fmla="*/ 6842708 h 6844239"/>
              <a:gd name="connsiteX5" fmla="*/ 962687 w 7251886"/>
              <a:gd name="connsiteY5" fmla="*/ 3431775 h 6844239"/>
              <a:gd name="connsiteX6" fmla="*/ 0 w 7251886"/>
              <a:gd name="connsiteY6" fmla="*/ 16945 h 6844239"/>
              <a:gd name="connsiteX7" fmla="*/ 47888 w 7251886"/>
              <a:gd name="connsiteY7" fmla="*/ 11842 h 6844239"/>
              <a:gd name="connsiteX0" fmla="*/ 9577 w 7213575"/>
              <a:gd name="connsiteY0" fmla="*/ 11842 h 6844239"/>
              <a:gd name="connsiteX1" fmla="*/ 7213575 w 7213575"/>
              <a:gd name="connsiteY1" fmla="*/ 0 h 6844239"/>
              <a:gd name="connsiteX2" fmla="*/ 7213575 w 7213575"/>
              <a:gd name="connsiteY2" fmla="*/ 6844239 h 6844239"/>
              <a:gd name="connsiteX3" fmla="*/ 10109 w 7213575"/>
              <a:gd name="connsiteY3" fmla="*/ 6844239 h 6844239"/>
              <a:gd name="connsiteX4" fmla="*/ 4422 w 7213575"/>
              <a:gd name="connsiteY4" fmla="*/ 6842708 h 6844239"/>
              <a:gd name="connsiteX5" fmla="*/ 924376 w 7213575"/>
              <a:gd name="connsiteY5" fmla="*/ 3431775 h 6844239"/>
              <a:gd name="connsiteX6" fmla="*/ 0 w 7213575"/>
              <a:gd name="connsiteY6" fmla="*/ 21745 h 6844239"/>
              <a:gd name="connsiteX7" fmla="*/ 9577 w 7213575"/>
              <a:gd name="connsiteY7" fmla="*/ 11842 h 6844239"/>
              <a:gd name="connsiteX0" fmla="*/ 9577 w 7213575"/>
              <a:gd name="connsiteY0" fmla="*/ 11842 h 6844239"/>
              <a:gd name="connsiteX1" fmla="*/ 7213575 w 7213575"/>
              <a:gd name="connsiteY1" fmla="*/ 0 h 6844239"/>
              <a:gd name="connsiteX2" fmla="*/ 7213575 w 7213575"/>
              <a:gd name="connsiteY2" fmla="*/ 6844239 h 6844239"/>
              <a:gd name="connsiteX3" fmla="*/ 10109 w 7213575"/>
              <a:gd name="connsiteY3" fmla="*/ 6844239 h 6844239"/>
              <a:gd name="connsiteX4" fmla="*/ 4422 w 7213575"/>
              <a:gd name="connsiteY4" fmla="*/ 6842708 h 6844239"/>
              <a:gd name="connsiteX5" fmla="*/ 920278 w 7213575"/>
              <a:gd name="connsiteY5" fmla="*/ 3423560 h 6844239"/>
              <a:gd name="connsiteX6" fmla="*/ 0 w 7213575"/>
              <a:gd name="connsiteY6" fmla="*/ 21745 h 6844239"/>
              <a:gd name="connsiteX7" fmla="*/ 9577 w 7213575"/>
              <a:gd name="connsiteY7" fmla="*/ 11842 h 6844239"/>
              <a:gd name="connsiteX0" fmla="*/ 9577 w 7213575"/>
              <a:gd name="connsiteY0" fmla="*/ 11842 h 6844239"/>
              <a:gd name="connsiteX1" fmla="*/ 7213575 w 7213575"/>
              <a:gd name="connsiteY1" fmla="*/ 0 h 6844239"/>
              <a:gd name="connsiteX2" fmla="*/ 7213575 w 7213575"/>
              <a:gd name="connsiteY2" fmla="*/ 6844239 h 6844239"/>
              <a:gd name="connsiteX3" fmla="*/ 10109 w 7213575"/>
              <a:gd name="connsiteY3" fmla="*/ 6844239 h 6844239"/>
              <a:gd name="connsiteX4" fmla="*/ 4422 w 7213575"/>
              <a:gd name="connsiteY4" fmla="*/ 6842708 h 6844239"/>
              <a:gd name="connsiteX5" fmla="*/ 915340 w 7213575"/>
              <a:gd name="connsiteY5" fmla="*/ 3433457 h 6844239"/>
              <a:gd name="connsiteX6" fmla="*/ 0 w 7213575"/>
              <a:gd name="connsiteY6" fmla="*/ 21745 h 6844239"/>
              <a:gd name="connsiteX7" fmla="*/ 9577 w 7213575"/>
              <a:gd name="connsiteY7" fmla="*/ 11842 h 6844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13575" h="6844239">
                <a:moveTo>
                  <a:pt x="9577" y="11842"/>
                </a:moveTo>
                <a:lnTo>
                  <a:pt x="7213575" y="0"/>
                </a:lnTo>
                <a:lnTo>
                  <a:pt x="7213575" y="6844239"/>
                </a:lnTo>
                <a:lnTo>
                  <a:pt x="10109" y="6844239"/>
                </a:lnTo>
                <a:lnTo>
                  <a:pt x="4422" y="6842708"/>
                </a:lnTo>
                <a:lnTo>
                  <a:pt x="915340" y="3433457"/>
                </a:lnTo>
                <a:cubicBezTo>
                  <a:pt x="608581" y="2299519"/>
                  <a:pt x="306759" y="1155683"/>
                  <a:pt x="0" y="21745"/>
                </a:cubicBezTo>
                <a:cubicBezTo>
                  <a:pt x="0" y="20044"/>
                  <a:pt x="9577" y="13543"/>
                  <a:pt x="9577" y="11842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85750" indent="-28575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C80B62D6-2484-3E43-8288-D3E485BA4A96}"/>
              </a:ext>
            </a:extLst>
          </p:cNvPr>
          <p:cNvGrpSpPr/>
          <p:nvPr userDrawn="1"/>
        </p:nvGrpSpPr>
        <p:grpSpPr>
          <a:xfrm>
            <a:off x="4731039" y="0"/>
            <a:ext cx="1127505" cy="6876000"/>
            <a:chOff x="3945699" y="0"/>
            <a:chExt cx="1127505" cy="6876000"/>
          </a:xfrm>
        </p:grpSpPr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id="{52DE0869-8416-BA4A-9164-5F32391EA311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9" name="Нашивка 18">
              <a:extLst>
                <a:ext uri="{FF2B5EF4-FFF2-40B4-BE49-F238E27FC236}">
                  <a16:creationId xmlns:a16="http://schemas.microsoft.com/office/drawing/2014/main" id="{D845C46B-DEC4-EA46-950F-0DEE2B3A1E5C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476440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: прозрачный градиент и фото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10FA3018-09DA-9046-A283-A744136617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10FA3018-09DA-9046-A283-A744136617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Рисунок 3">
            <a:extLst>
              <a:ext uri="{FF2B5EF4-FFF2-40B4-BE49-F238E27FC236}">
                <a16:creationId xmlns:a16="http://schemas.microsoft.com/office/drawing/2014/main" id="{EAA59F38-4A00-D249-99FC-DF9B2A384A0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5F6BAC7D-516D-B24C-B12C-D28B883ACB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8515" y="1742133"/>
            <a:ext cx="5277485" cy="3877985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28000" b="1">
                <a:solidFill>
                  <a:schemeClr val="tx1">
                    <a:alpha val="3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D6E650C-492A-BD4F-B0A8-5E5FC435AE6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48769" y="486744"/>
            <a:ext cx="1772883" cy="709153"/>
          </a:xfrm>
          <a:prstGeom prst="rect">
            <a:avLst/>
          </a:prstGeom>
        </p:spPr>
      </p:pic>
      <p:sp>
        <p:nvSpPr>
          <p:cNvPr id="7" name="Заголовок 16">
            <a:extLst>
              <a:ext uri="{FF2B5EF4-FFF2-40B4-BE49-F238E27FC236}">
                <a16:creationId xmlns:a16="http://schemas.microsoft.com/office/drawing/2014/main" id="{AA45FD41-ED9B-2F49-A696-74BD5A4C4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3832125"/>
            <a:ext cx="5277484" cy="498598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Текст 18">
            <a:extLst>
              <a:ext uri="{FF2B5EF4-FFF2-40B4-BE49-F238E27FC236}">
                <a16:creationId xmlns:a16="http://schemas.microsoft.com/office/drawing/2014/main" id="{2A829139-1830-7D4D-A0FF-A50153AC606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305802"/>
            <a:ext cx="530100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440307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: плашка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9864EF1-02FA-C447-B4C4-82B69331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E9864EF1-02FA-C447-B4C4-82B69331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3">
            <a:extLst>
              <a:ext uri="{FF2B5EF4-FFF2-40B4-BE49-F238E27FC236}">
                <a16:creationId xmlns:a16="http://schemas.microsoft.com/office/drawing/2014/main" id="{50A76EE4-D682-BF43-8DAE-526CC49CB11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D6E650C-492A-BD4F-B0A8-5E5FC435AE6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48769" y="486744"/>
            <a:ext cx="1772883" cy="709153"/>
          </a:xfrm>
          <a:prstGeom prst="rect">
            <a:avLst/>
          </a:prstGeom>
        </p:spPr>
      </p:pic>
      <p:sp>
        <p:nvSpPr>
          <p:cNvPr id="8" name="Текст 18">
            <a:extLst>
              <a:ext uri="{FF2B5EF4-FFF2-40B4-BE49-F238E27FC236}">
                <a16:creationId xmlns:a16="http://schemas.microsoft.com/office/drawing/2014/main" id="{E2322C29-2DF1-A041-80A9-F990F758FB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8515" y="5456298"/>
            <a:ext cx="5301008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Заголовок 16">
            <a:extLst>
              <a:ext uri="{FF2B5EF4-FFF2-40B4-BE49-F238E27FC236}">
                <a16:creationId xmlns:a16="http://schemas.microsoft.com/office/drawing/2014/main" id="{19D1D188-B0FF-6144-9237-0FD677A02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4" y="4172597"/>
            <a:ext cx="5277485" cy="498598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Текст 4">
            <a:extLst>
              <a:ext uri="{FF2B5EF4-FFF2-40B4-BE49-F238E27FC236}">
                <a16:creationId xmlns:a16="http://schemas.microsoft.com/office/drawing/2014/main" id="{7E6D6720-D0DE-4445-A813-BBF8CA0129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4096" y="3028789"/>
            <a:ext cx="4063878" cy="1218795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88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</p:spTree>
    <p:extLst>
      <p:ext uri="{BB962C8B-B14F-4D97-AF65-F5344CB8AC3E}">
        <p14:creationId xmlns:p14="http://schemas.microsoft.com/office/powerpoint/2010/main" val="9957342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: градиент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B11F5C4-C9AA-4A48-8171-7867F8EF8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71E0D75-1C9A-D94E-8A7E-42607AF206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sp>
        <p:nvSpPr>
          <p:cNvPr id="9" name="Текст 4">
            <a:extLst>
              <a:ext uri="{FF2B5EF4-FFF2-40B4-BE49-F238E27FC236}">
                <a16:creationId xmlns:a16="http://schemas.microsoft.com/office/drawing/2014/main" id="{0E13A231-B046-1F4B-A36E-3CC5FB7710B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8515" y="1742133"/>
            <a:ext cx="5277485" cy="3877985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28000" b="1">
                <a:solidFill>
                  <a:schemeClr val="accent1">
                    <a:alpha val="3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0" name="Заголовок 16">
            <a:extLst>
              <a:ext uri="{FF2B5EF4-FFF2-40B4-BE49-F238E27FC236}">
                <a16:creationId xmlns:a16="http://schemas.microsoft.com/office/drawing/2014/main" id="{DFB5AB00-E3EA-B64E-858C-946031C610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4" y="4361321"/>
            <a:ext cx="10554971" cy="997196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 </a:t>
            </a:r>
            <a:br>
              <a:rPr lang="ru-RU" dirty="0"/>
            </a:br>
            <a:endParaRPr lang="ru-RU" dirty="0"/>
          </a:p>
        </p:txBody>
      </p:sp>
      <p:sp>
        <p:nvSpPr>
          <p:cNvPr id="15" name="Текст 18">
            <a:extLst>
              <a:ext uri="{FF2B5EF4-FFF2-40B4-BE49-F238E27FC236}">
                <a16:creationId xmlns:a16="http://schemas.microsoft.com/office/drawing/2014/main" id="{9F64DCFC-FC3B-7440-97A3-1C74EC8FBA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461594"/>
            <a:ext cx="10602018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08AF1FF8-951E-9B4D-96E8-F9535A1B1717}"/>
              </a:ext>
            </a:extLst>
          </p:cNvPr>
          <p:cNvGrpSpPr/>
          <p:nvPr userDrawn="1"/>
        </p:nvGrpSpPr>
        <p:grpSpPr>
          <a:xfrm>
            <a:off x="227165" y="4395174"/>
            <a:ext cx="361110" cy="371578"/>
            <a:chOff x="383279" y="3833472"/>
            <a:chExt cx="361110" cy="371578"/>
          </a:xfrm>
        </p:grpSpPr>
        <p:sp>
          <p:nvSpPr>
            <p:cNvPr id="19" name="Нашивка 18">
              <a:extLst>
                <a:ext uri="{FF2B5EF4-FFF2-40B4-BE49-F238E27FC236}">
                  <a16:creationId xmlns:a16="http://schemas.microsoft.com/office/drawing/2014/main" id="{DC372A10-83C5-DC45-8F47-01EF8DA40D2B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0" name="Нашивка 19">
              <a:extLst>
                <a:ext uri="{FF2B5EF4-FFF2-40B4-BE49-F238E27FC236}">
                  <a16:creationId xmlns:a16="http://schemas.microsoft.com/office/drawing/2014/main" id="{7F5F3CBD-40CD-B34C-92C5-D4244B2DBEC3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19859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: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7EE458F2-981F-5B4D-AD84-FF20F4593E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7EE458F2-981F-5B4D-AD84-FF20F4593E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Текст 4">
            <a:extLst>
              <a:ext uri="{FF2B5EF4-FFF2-40B4-BE49-F238E27FC236}">
                <a16:creationId xmlns:a16="http://schemas.microsoft.com/office/drawing/2014/main" id="{5B92850A-0211-1144-8EB9-6091374CCD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2270" y="1077938"/>
            <a:ext cx="5119944" cy="3877985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lang="ru-RU" sz="28000" b="1" kern="1200" dirty="0">
                <a:gradFill flip="none" rotWithShape="1">
                  <a:gsLst>
                    <a:gs pos="0">
                      <a:schemeClr val="accent1"/>
                    </a:gs>
                    <a:gs pos="76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№</a:t>
            </a:r>
          </a:p>
        </p:txBody>
      </p:sp>
      <p:sp>
        <p:nvSpPr>
          <p:cNvPr id="7" name="Заголовок 16">
            <a:extLst>
              <a:ext uri="{FF2B5EF4-FFF2-40B4-BE49-F238E27FC236}">
                <a16:creationId xmlns:a16="http://schemas.microsoft.com/office/drawing/2014/main" id="{BE6F29DE-28D2-394F-821C-FB76FDE14A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4" y="3664249"/>
            <a:ext cx="6062345" cy="498598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Текст 18">
            <a:extLst>
              <a:ext uri="{FF2B5EF4-FFF2-40B4-BE49-F238E27FC236}">
                <a16:creationId xmlns:a16="http://schemas.microsoft.com/office/drawing/2014/main" id="{B447CD9E-79AA-F841-B913-4DF677CF25D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4" y="4926106"/>
            <a:ext cx="6062345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5F77A769-4F6D-8F4E-8FA7-F0C592D67851}"/>
              </a:ext>
            </a:extLst>
          </p:cNvPr>
          <p:cNvGrpSpPr/>
          <p:nvPr userDrawn="1"/>
        </p:nvGrpSpPr>
        <p:grpSpPr>
          <a:xfrm>
            <a:off x="227165" y="3714180"/>
            <a:ext cx="361110" cy="371578"/>
            <a:chOff x="383279" y="3833472"/>
            <a:chExt cx="361110" cy="371578"/>
          </a:xfrm>
        </p:grpSpPr>
        <p:sp>
          <p:nvSpPr>
            <p:cNvPr id="30" name="Нашивка 29">
              <a:extLst>
                <a:ext uri="{FF2B5EF4-FFF2-40B4-BE49-F238E27FC236}">
                  <a16:creationId xmlns:a16="http://schemas.microsoft.com/office/drawing/2014/main" id="{55DD70D4-EC10-404E-A2F0-BDD074B844BE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1" name="Нашивка 30">
              <a:extLst>
                <a:ext uri="{FF2B5EF4-FFF2-40B4-BE49-F238E27FC236}">
                  <a16:creationId xmlns:a16="http://schemas.microsoft.com/office/drawing/2014/main" id="{C7099F1E-2038-F640-A9BD-C832B7361CCB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3D17A70-2D70-8D49-944B-DCA00AE7B8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63622" b="-3566"/>
          <a:stretch/>
        </p:blipFill>
        <p:spPr>
          <a:xfrm>
            <a:off x="7720162" y="2598039"/>
            <a:ext cx="4063046" cy="3857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5681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: белый 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32936E7-298E-344F-86EF-0BEB754737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B32936E7-298E-344F-86EF-0BEB75473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Текст 4">
            <a:extLst>
              <a:ext uri="{FF2B5EF4-FFF2-40B4-BE49-F238E27FC236}">
                <a16:creationId xmlns:a16="http://schemas.microsoft.com/office/drawing/2014/main" id="{5B92850A-0211-1144-8EB9-6091374CCD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2270" y="1077938"/>
            <a:ext cx="5119944" cy="3877985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lang="ru-RU" sz="28000" b="1" kern="1200" dirty="0">
                <a:gradFill flip="none" rotWithShape="1">
                  <a:gsLst>
                    <a:gs pos="0">
                      <a:schemeClr val="accent1"/>
                    </a:gs>
                    <a:gs pos="76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№</a:t>
            </a:r>
          </a:p>
        </p:txBody>
      </p:sp>
      <p:sp>
        <p:nvSpPr>
          <p:cNvPr id="7" name="Заголовок 16">
            <a:extLst>
              <a:ext uri="{FF2B5EF4-FFF2-40B4-BE49-F238E27FC236}">
                <a16:creationId xmlns:a16="http://schemas.microsoft.com/office/drawing/2014/main" id="{BE6F29DE-28D2-394F-821C-FB76FDE14A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4" y="3664249"/>
            <a:ext cx="6062345" cy="498598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Текст 18">
            <a:extLst>
              <a:ext uri="{FF2B5EF4-FFF2-40B4-BE49-F238E27FC236}">
                <a16:creationId xmlns:a16="http://schemas.microsoft.com/office/drawing/2014/main" id="{B447CD9E-79AA-F841-B913-4DF677CF25D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4" y="4926106"/>
            <a:ext cx="6062345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5F77A769-4F6D-8F4E-8FA7-F0C592D67851}"/>
              </a:ext>
            </a:extLst>
          </p:cNvPr>
          <p:cNvGrpSpPr/>
          <p:nvPr userDrawn="1"/>
        </p:nvGrpSpPr>
        <p:grpSpPr>
          <a:xfrm>
            <a:off x="227165" y="3714180"/>
            <a:ext cx="361110" cy="371578"/>
            <a:chOff x="383279" y="3833472"/>
            <a:chExt cx="361110" cy="371578"/>
          </a:xfrm>
        </p:grpSpPr>
        <p:sp>
          <p:nvSpPr>
            <p:cNvPr id="30" name="Нашивка 29">
              <a:extLst>
                <a:ext uri="{FF2B5EF4-FFF2-40B4-BE49-F238E27FC236}">
                  <a16:creationId xmlns:a16="http://schemas.microsoft.com/office/drawing/2014/main" id="{55DD70D4-EC10-404E-A2F0-BDD074B844BE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1" name="Нашивка 30">
              <a:extLst>
                <a:ext uri="{FF2B5EF4-FFF2-40B4-BE49-F238E27FC236}">
                  <a16:creationId xmlns:a16="http://schemas.microsoft.com/office/drawing/2014/main" id="{C7099F1E-2038-F640-A9BD-C832B7361CCB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6B36374A-92E4-084C-AA09-6CFE35648EF5}"/>
              </a:ext>
            </a:extLst>
          </p:cNvPr>
          <p:cNvGrpSpPr/>
          <p:nvPr userDrawn="1"/>
        </p:nvGrpSpPr>
        <p:grpSpPr>
          <a:xfrm>
            <a:off x="7700393" y="0"/>
            <a:ext cx="1127505" cy="6876000"/>
            <a:chOff x="3945699" y="0"/>
            <a:chExt cx="1127505" cy="6876000"/>
          </a:xfrm>
        </p:grpSpPr>
        <p:sp>
          <p:nvSpPr>
            <p:cNvPr id="11" name="Нашивка 10">
              <a:extLst>
                <a:ext uri="{FF2B5EF4-FFF2-40B4-BE49-F238E27FC236}">
                  <a16:creationId xmlns:a16="http://schemas.microsoft.com/office/drawing/2014/main" id="{269A1E4D-FBE3-D747-9ADC-5846C2844092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2" name="Нашивка 11">
              <a:extLst>
                <a:ext uri="{FF2B5EF4-FFF2-40B4-BE49-F238E27FC236}">
                  <a16:creationId xmlns:a16="http://schemas.microsoft.com/office/drawing/2014/main" id="{E3F5A0E7-C5AF-7747-BCCB-9AAB760EA313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057817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F85B60A3-FE48-2E49-B5BC-9634550B63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F85B60A3-FE48-2E49-B5BC-9634550B63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307D7406-D609-3844-9FFD-74697F859819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6836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04C3F334-6B2E-0F46-9A34-5391205468A0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9089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Мастер-слайд 2/3 залив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F31A9401-66B5-EB45-B593-DBE86B2D64EB}"/>
              </a:ext>
            </a:extLst>
          </p:cNvPr>
          <p:cNvGrpSpPr/>
          <p:nvPr userDrawn="1"/>
        </p:nvGrpSpPr>
        <p:grpSpPr>
          <a:xfrm>
            <a:off x="3649466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14" name="Полилиния 13">
            <a:extLst>
              <a:ext uri="{FF2B5EF4-FFF2-40B4-BE49-F238E27FC236}">
                <a16:creationId xmlns:a16="http://schemas.microsoft.com/office/drawing/2014/main" id="{96EE0B24-B8A3-0548-8081-25AD766E440C}"/>
              </a:ext>
            </a:extLst>
          </p:cNvPr>
          <p:cNvSpPr/>
          <p:nvPr userDrawn="1"/>
        </p:nvSpPr>
        <p:spPr>
          <a:xfrm>
            <a:off x="3867461" y="0"/>
            <a:ext cx="8324539" cy="6858000"/>
          </a:xfrm>
          <a:custGeom>
            <a:avLst/>
            <a:gdLst>
              <a:gd name="connsiteX0" fmla="*/ 0 w 8399490"/>
              <a:gd name="connsiteY0" fmla="*/ 0 h 6858000"/>
              <a:gd name="connsiteX1" fmla="*/ 1312888 w 8399490"/>
              <a:gd name="connsiteY1" fmla="*/ 0 h 6858000"/>
              <a:gd name="connsiteX2" fmla="*/ 7104699 w 8399490"/>
              <a:gd name="connsiteY2" fmla="*/ 0 h 6858000"/>
              <a:gd name="connsiteX3" fmla="*/ 8399490 w 8399490"/>
              <a:gd name="connsiteY3" fmla="*/ 0 h 6858000"/>
              <a:gd name="connsiteX4" fmla="*/ 8399490 w 8399490"/>
              <a:gd name="connsiteY4" fmla="*/ 6858000 h 6858000"/>
              <a:gd name="connsiteX5" fmla="*/ 8399489 w 8399490"/>
              <a:gd name="connsiteY5" fmla="*/ 6858000 h 6858000"/>
              <a:gd name="connsiteX6" fmla="*/ 1312888 w 8399490"/>
              <a:gd name="connsiteY6" fmla="*/ 6858000 h 6858000"/>
              <a:gd name="connsiteX7" fmla="*/ 1294790 w 839949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399490" h="6858000">
                <a:moveTo>
                  <a:pt x="0" y="0"/>
                </a:moveTo>
                <a:lnTo>
                  <a:pt x="1312888" y="0"/>
                </a:lnTo>
                <a:lnTo>
                  <a:pt x="7104699" y="0"/>
                </a:lnTo>
                <a:lnTo>
                  <a:pt x="8399490" y="0"/>
                </a:lnTo>
                <a:lnTo>
                  <a:pt x="8399490" y="6858000"/>
                </a:lnTo>
                <a:lnTo>
                  <a:pt x="8399489" y="6858000"/>
                </a:lnTo>
                <a:lnTo>
                  <a:pt x="1312888" y="6858000"/>
                </a:lnTo>
                <a:lnTo>
                  <a:pt x="129479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A00ABCF-18D8-254B-AC4C-99D8CDF105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9" name="Заголовок 16">
            <a:extLst>
              <a:ext uri="{FF2B5EF4-FFF2-40B4-BE49-F238E27FC236}">
                <a16:creationId xmlns:a16="http://schemas.microsoft.com/office/drawing/2014/main" id="{3EEE93BC-CD08-2648-BE48-3A94C5FB22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7" y="402822"/>
            <a:ext cx="2630329" cy="68580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CCAE0602-262B-D54C-94FA-626681E0F9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3833627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12EEA68E-259E-8848-A125-3FDD14CF9C9B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3B708B7C-9105-8543-AF84-878A41AF28AB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ABC575B7-F548-3C4D-AFF8-EA16D7A25BE1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340002465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с фото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496EC26-6A0F-704E-807F-0ADDC92EDD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B496EC26-6A0F-704E-807F-0ADDC92EDD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878" y="402822"/>
            <a:ext cx="4763368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4602163" y="1208544"/>
            <a:ext cx="1541261" cy="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Рисунок 4">
            <a:extLst>
              <a:ext uri="{FF2B5EF4-FFF2-40B4-BE49-F238E27FC236}">
                <a16:creationId xmlns:a16="http://schemas.microsoft.com/office/drawing/2014/main" id="{E53D1804-0EFE-AB4F-B2DB-B9BB9A80242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4602163" cy="6858000"/>
          </a:xfr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28600" indent="-22860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en-US" dirty="0"/>
              <a:t> </a:t>
            </a:r>
            <a:r>
              <a:rPr lang="ru-RU" dirty="0"/>
              <a:t>Изображение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57638FCE-C738-8243-9156-EC65C3E1F059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6836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CF3B33A8-9A4D-0E45-9A25-1BB082DBFAE4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49611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то (1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A6AF37E-99FD-FC46-BDAD-F5FBCA00C5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A6AF37E-99FD-FC46-BDAD-F5FBCA00C5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олилиния 12">
            <a:extLst>
              <a:ext uri="{FF2B5EF4-FFF2-40B4-BE49-F238E27FC236}">
                <a16:creationId xmlns:a16="http://schemas.microsoft.com/office/drawing/2014/main" id="{FD9F2DAB-4652-2C46-B2B9-DA033A180894}"/>
              </a:ext>
            </a:extLst>
          </p:cNvPr>
          <p:cNvSpPr/>
          <p:nvPr userDrawn="1"/>
        </p:nvSpPr>
        <p:spPr>
          <a:xfrm>
            <a:off x="814782" y="1352890"/>
            <a:ext cx="5474806" cy="4860000"/>
          </a:xfrm>
          <a:custGeom>
            <a:avLst/>
            <a:gdLst>
              <a:gd name="connsiteX0" fmla="*/ 2827536 w 5474806"/>
              <a:gd name="connsiteY0" fmla="*/ 0 h 4867096"/>
              <a:gd name="connsiteX1" fmla="*/ 4627044 w 5474806"/>
              <a:gd name="connsiteY1" fmla="*/ 0 h 4867096"/>
              <a:gd name="connsiteX2" fmla="*/ 5474806 w 5474806"/>
              <a:gd name="connsiteY2" fmla="*/ 2433549 h 4867096"/>
              <a:gd name="connsiteX3" fmla="*/ 4627044 w 5474806"/>
              <a:gd name="connsiteY3" fmla="*/ 4867096 h 4867096"/>
              <a:gd name="connsiteX4" fmla="*/ 4022173 w 5474806"/>
              <a:gd name="connsiteY4" fmla="*/ 4867096 h 4867096"/>
              <a:gd name="connsiteX5" fmla="*/ 2827536 w 5474806"/>
              <a:gd name="connsiteY5" fmla="*/ 4867096 h 4867096"/>
              <a:gd name="connsiteX6" fmla="*/ 654469 w 5474806"/>
              <a:gd name="connsiteY6" fmla="*/ 4867096 h 4867096"/>
              <a:gd name="connsiteX7" fmla="*/ 648540 w 5474806"/>
              <a:gd name="connsiteY7" fmla="*/ 4866307 h 4867096"/>
              <a:gd name="connsiteX8" fmla="*/ 133772 w 5474806"/>
              <a:gd name="connsiteY8" fmla="*/ 4866307 h 4867096"/>
              <a:gd name="connsiteX9" fmla="*/ 0 w 5474806"/>
              <a:gd name="connsiteY9" fmla="*/ 4732535 h 4867096"/>
              <a:gd name="connsiteX10" fmla="*/ 0 w 5474806"/>
              <a:gd name="connsiteY10" fmla="*/ 134562 h 4867096"/>
              <a:gd name="connsiteX11" fmla="*/ 133772 w 5474806"/>
              <a:gd name="connsiteY11" fmla="*/ 790 h 4867096"/>
              <a:gd name="connsiteX12" fmla="*/ 2827536 w 5474806"/>
              <a:gd name="connsiteY12" fmla="*/ 790 h 4867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474806" h="4867096">
                <a:moveTo>
                  <a:pt x="2827536" y="0"/>
                </a:moveTo>
                <a:lnTo>
                  <a:pt x="4627044" y="0"/>
                </a:lnTo>
                <a:lnTo>
                  <a:pt x="5474806" y="2433549"/>
                </a:lnTo>
                <a:lnTo>
                  <a:pt x="4627044" y="4867096"/>
                </a:lnTo>
                <a:lnTo>
                  <a:pt x="4022173" y="4867096"/>
                </a:lnTo>
                <a:lnTo>
                  <a:pt x="2827536" y="4867096"/>
                </a:lnTo>
                <a:lnTo>
                  <a:pt x="654469" y="4867096"/>
                </a:lnTo>
                <a:lnTo>
                  <a:pt x="648540" y="4866307"/>
                </a:lnTo>
                <a:lnTo>
                  <a:pt x="133772" y="4866307"/>
                </a:lnTo>
                <a:cubicBezTo>
                  <a:pt x="59892" y="4866307"/>
                  <a:pt x="0" y="4806415"/>
                  <a:pt x="0" y="4732535"/>
                </a:cubicBezTo>
                <a:lnTo>
                  <a:pt x="0" y="134562"/>
                </a:lnTo>
                <a:cubicBezTo>
                  <a:pt x="0" y="60682"/>
                  <a:pt x="59892" y="790"/>
                  <a:pt x="133772" y="790"/>
                </a:cubicBezTo>
                <a:lnTo>
                  <a:pt x="2827536" y="790"/>
                </a:lnTo>
                <a:close/>
              </a:path>
            </a:pathLst>
          </a:custGeom>
          <a:solidFill>
            <a:srgbClr val="F7F7F7"/>
          </a:solidFill>
          <a:ln w="9525">
            <a:solidFill>
              <a:schemeClr val="tx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ECCE6E81-B6E0-B246-8EAB-96ED5E33953B}"/>
              </a:ext>
            </a:extLst>
          </p:cNvPr>
          <p:cNvGrpSpPr/>
          <p:nvPr userDrawn="1"/>
        </p:nvGrpSpPr>
        <p:grpSpPr>
          <a:xfrm>
            <a:off x="5338119" y="1347617"/>
            <a:ext cx="1210963" cy="4859337"/>
            <a:chOff x="5313405" y="1347617"/>
            <a:chExt cx="1210963" cy="4859337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F8CBEEC2-B7F4-3944-8945-A2A1A2919CE6}"/>
                </a:ext>
              </a:extLst>
            </p:cNvPr>
            <p:cNvSpPr/>
            <p:nvPr/>
          </p:nvSpPr>
          <p:spPr>
            <a:xfrm>
              <a:off x="5436973" y="1347617"/>
              <a:ext cx="1087395" cy="4859337"/>
            </a:xfrm>
            <a:prstGeom prst="chevron">
              <a:avLst>
                <a:gd name="adj" fmla="val 87552"/>
              </a:avLst>
            </a:prstGeom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id="{118A6904-EFD3-6D42-9C54-7AD235004CD4}"/>
                </a:ext>
              </a:extLst>
            </p:cNvPr>
            <p:cNvSpPr/>
            <p:nvPr/>
          </p:nvSpPr>
          <p:spPr>
            <a:xfrm>
              <a:off x="5313405" y="1347617"/>
              <a:ext cx="1087395" cy="4859337"/>
            </a:xfrm>
            <a:prstGeom prst="chevron">
              <a:avLst>
                <a:gd name="adj" fmla="val 87552"/>
              </a:avLst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C8B122AB-132B-6A45-8685-822F9C5231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597611" y="1344613"/>
            <a:ext cx="5786353" cy="4862512"/>
          </a:xfrm>
          <a:custGeom>
            <a:avLst/>
            <a:gdLst>
              <a:gd name="connsiteX0" fmla="*/ 0 w 5786353"/>
              <a:gd name="connsiteY0" fmla="*/ 0 h 4862512"/>
              <a:gd name="connsiteX1" fmla="*/ 5622301 w 5786353"/>
              <a:gd name="connsiteY1" fmla="*/ 0 h 4862512"/>
              <a:gd name="connsiteX2" fmla="*/ 5686749 w 5786353"/>
              <a:gd name="connsiteY2" fmla="*/ 13011 h 4862512"/>
              <a:gd name="connsiteX3" fmla="*/ 5777685 w 5786353"/>
              <a:gd name="connsiteY3" fmla="*/ 103947 h 4862512"/>
              <a:gd name="connsiteX4" fmla="*/ 5786353 w 5786353"/>
              <a:gd name="connsiteY4" fmla="*/ 146883 h 4862512"/>
              <a:gd name="connsiteX5" fmla="*/ 5786353 w 5786353"/>
              <a:gd name="connsiteY5" fmla="*/ 4717800 h 4862512"/>
              <a:gd name="connsiteX6" fmla="*/ 5777685 w 5786353"/>
              <a:gd name="connsiteY6" fmla="*/ 4760736 h 4862512"/>
              <a:gd name="connsiteX7" fmla="*/ 5686749 w 5786353"/>
              <a:gd name="connsiteY7" fmla="*/ 4851672 h 4862512"/>
              <a:gd name="connsiteX8" fmla="*/ 5633055 w 5786353"/>
              <a:gd name="connsiteY8" fmla="*/ 4862512 h 4862512"/>
              <a:gd name="connsiteX9" fmla="*/ 0 w 5786353"/>
              <a:gd name="connsiteY9" fmla="*/ 4862512 h 4862512"/>
              <a:gd name="connsiteX10" fmla="*/ 0 w 5786353"/>
              <a:gd name="connsiteY10" fmla="*/ 4852694 h 4862512"/>
              <a:gd name="connsiteX11" fmla="*/ 962851 w 5786353"/>
              <a:gd name="connsiteY11" fmla="*/ 2433848 h 4862512"/>
              <a:gd name="connsiteX12" fmla="*/ 0 w 5786353"/>
              <a:gd name="connsiteY12" fmla="*/ 15002 h 4862512"/>
              <a:gd name="connsiteX0" fmla="*/ 0 w 5786353"/>
              <a:gd name="connsiteY0" fmla="*/ 0 h 4862512"/>
              <a:gd name="connsiteX1" fmla="*/ 5622301 w 5786353"/>
              <a:gd name="connsiteY1" fmla="*/ 0 h 4862512"/>
              <a:gd name="connsiteX2" fmla="*/ 5686749 w 5786353"/>
              <a:gd name="connsiteY2" fmla="*/ 13011 h 4862512"/>
              <a:gd name="connsiteX3" fmla="*/ 5777685 w 5786353"/>
              <a:gd name="connsiteY3" fmla="*/ 103947 h 4862512"/>
              <a:gd name="connsiteX4" fmla="*/ 5786353 w 5786353"/>
              <a:gd name="connsiteY4" fmla="*/ 146883 h 4862512"/>
              <a:gd name="connsiteX5" fmla="*/ 5786353 w 5786353"/>
              <a:gd name="connsiteY5" fmla="*/ 4717800 h 4862512"/>
              <a:gd name="connsiteX6" fmla="*/ 5777685 w 5786353"/>
              <a:gd name="connsiteY6" fmla="*/ 4760736 h 4862512"/>
              <a:gd name="connsiteX7" fmla="*/ 5686749 w 5786353"/>
              <a:gd name="connsiteY7" fmla="*/ 4851672 h 4862512"/>
              <a:gd name="connsiteX8" fmla="*/ 5633055 w 5786353"/>
              <a:gd name="connsiteY8" fmla="*/ 4862512 h 4862512"/>
              <a:gd name="connsiteX9" fmla="*/ 0 w 5786353"/>
              <a:gd name="connsiteY9" fmla="*/ 4862512 h 4862512"/>
              <a:gd name="connsiteX10" fmla="*/ 0 w 5786353"/>
              <a:gd name="connsiteY10" fmla="*/ 4852694 h 4862512"/>
              <a:gd name="connsiteX11" fmla="*/ 952803 w 5786353"/>
              <a:gd name="connsiteY11" fmla="*/ 2423800 h 4862512"/>
              <a:gd name="connsiteX12" fmla="*/ 0 w 5786353"/>
              <a:gd name="connsiteY12" fmla="*/ 15002 h 4862512"/>
              <a:gd name="connsiteX13" fmla="*/ 0 w 5786353"/>
              <a:gd name="connsiteY13" fmla="*/ 0 h 4862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786353" h="4862512">
                <a:moveTo>
                  <a:pt x="0" y="0"/>
                </a:moveTo>
                <a:lnTo>
                  <a:pt x="5622301" y="0"/>
                </a:lnTo>
                <a:lnTo>
                  <a:pt x="5686749" y="13011"/>
                </a:lnTo>
                <a:cubicBezTo>
                  <a:pt x="5727636" y="30305"/>
                  <a:pt x="5760391" y="63060"/>
                  <a:pt x="5777685" y="103947"/>
                </a:cubicBezTo>
                <a:lnTo>
                  <a:pt x="5786353" y="146883"/>
                </a:lnTo>
                <a:lnTo>
                  <a:pt x="5786353" y="4717800"/>
                </a:lnTo>
                <a:lnTo>
                  <a:pt x="5777685" y="4760736"/>
                </a:lnTo>
                <a:cubicBezTo>
                  <a:pt x="5760391" y="4801623"/>
                  <a:pt x="5727636" y="4834378"/>
                  <a:pt x="5686749" y="4851672"/>
                </a:cubicBezTo>
                <a:lnTo>
                  <a:pt x="5633055" y="4862512"/>
                </a:lnTo>
                <a:lnTo>
                  <a:pt x="0" y="4862512"/>
                </a:lnTo>
                <a:lnTo>
                  <a:pt x="0" y="4852694"/>
                </a:lnTo>
                <a:lnTo>
                  <a:pt x="952803" y="2423800"/>
                </a:lnTo>
                <a:lnTo>
                  <a:pt x="0" y="15002"/>
                </a:lnTo>
                <a:lnTo>
                  <a:pt x="0" y="0"/>
                </a:ln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8CAF1BEF-86D9-9C49-A79A-90437F062B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2D71F13D-3902-F649-A58F-7B229C39274E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3732F6BC-86EB-DC47-8955-70DA404806C9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0717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то (2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D68EE43A-8859-594C-A127-7DE1B66556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D68EE43A-8859-594C-A127-7DE1B66556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олилиния 14">
            <a:extLst>
              <a:ext uri="{FF2B5EF4-FFF2-40B4-BE49-F238E27FC236}">
                <a16:creationId xmlns:a16="http://schemas.microsoft.com/office/drawing/2014/main" id="{258183B6-84F7-7942-A1E1-D2A8B442AC54}"/>
              </a:ext>
            </a:extLst>
          </p:cNvPr>
          <p:cNvSpPr/>
          <p:nvPr userDrawn="1"/>
        </p:nvSpPr>
        <p:spPr>
          <a:xfrm flipH="1">
            <a:off x="5584053" y="1348813"/>
            <a:ext cx="5804672" cy="4867096"/>
          </a:xfrm>
          <a:custGeom>
            <a:avLst/>
            <a:gdLst>
              <a:gd name="connsiteX0" fmla="*/ 5804672 w 5804672"/>
              <a:gd name="connsiteY0" fmla="*/ 0 h 4867096"/>
              <a:gd name="connsiteX1" fmla="*/ 3575355 w 5804672"/>
              <a:gd name="connsiteY1" fmla="*/ 0 h 4867096"/>
              <a:gd name="connsiteX2" fmla="*/ 3575355 w 5804672"/>
              <a:gd name="connsiteY2" fmla="*/ 790 h 4867096"/>
              <a:gd name="connsiteX3" fmla="*/ 133772 w 5804672"/>
              <a:gd name="connsiteY3" fmla="*/ 790 h 4867096"/>
              <a:gd name="connsiteX4" fmla="*/ 0 w 5804672"/>
              <a:gd name="connsiteY4" fmla="*/ 134562 h 4867096"/>
              <a:gd name="connsiteX5" fmla="*/ 0 w 5804672"/>
              <a:gd name="connsiteY5" fmla="*/ 4732535 h 4867096"/>
              <a:gd name="connsiteX6" fmla="*/ 133772 w 5804672"/>
              <a:gd name="connsiteY6" fmla="*/ 4866307 h 4867096"/>
              <a:gd name="connsiteX7" fmla="*/ 875911 w 5804672"/>
              <a:gd name="connsiteY7" fmla="*/ 4866307 h 4867096"/>
              <a:gd name="connsiteX8" fmla="*/ 883255 w 5804672"/>
              <a:gd name="connsiteY8" fmla="*/ 4867096 h 4867096"/>
              <a:gd name="connsiteX9" fmla="*/ 3575355 w 5804672"/>
              <a:gd name="connsiteY9" fmla="*/ 4867096 h 4867096"/>
              <a:gd name="connsiteX10" fmla="*/ 5055330 w 5804672"/>
              <a:gd name="connsiteY10" fmla="*/ 4867096 h 4867096"/>
              <a:gd name="connsiteX11" fmla="*/ 5804672 w 5804672"/>
              <a:gd name="connsiteY11" fmla="*/ 4867096 h 4867096"/>
              <a:gd name="connsiteX12" fmla="*/ 4961536 w 5804672"/>
              <a:gd name="connsiteY12" fmla="*/ 2436468 h 4867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804672" h="4867096">
                <a:moveTo>
                  <a:pt x="5804672" y="0"/>
                </a:moveTo>
                <a:lnTo>
                  <a:pt x="3575355" y="0"/>
                </a:lnTo>
                <a:lnTo>
                  <a:pt x="3575355" y="790"/>
                </a:lnTo>
                <a:lnTo>
                  <a:pt x="133772" y="790"/>
                </a:lnTo>
                <a:cubicBezTo>
                  <a:pt x="59892" y="790"/>
                  <a:pt x="0" y="60682"/>
                  <a:pt x="0" y="134562"/>
                </a:cubicBezTo>
                <a:lnTo>
                  <a:pt x="0" y="4732535"/>
                </a:lnTo>
                <a:cubicBezTo>
                  <a:pt x="0" y="4806415"/>
                  <a:pt x="59892" y="4866307"/>
                  <a:pt x="133772" y="4866307"/>
                </a:cubicBezTo>
                <a:lnTo>
                  <a:pt x="875911" y="4866307"/>
                </a:lnTo>
                <a:lnTo>
                  <a:pt x="883255" y="4867096"/>
                </a:lnTo>
                <a:lnTo>
                  <a:pt x="3575355" y="4867096"/>
                </a:lnTo>
                <a:lnTo>
                  <a:pt x="5055330" y="4867096"/>
                </a:lnTo>
                <a:lnTo>
                  <a:pt x="5804672" y="4867096"/>
                </a:lnTo>
                <a:lnTo>
                  <a:pt x="4961536" y="2436468"/>
                </a:lnTo>
                <a:close/>
              </a:path>
            </a:pathLst>
          </a:custGeom>
          <a:solidFill>
            <a:schemeClr val="tx1">
              <a:lumMod val="95000"/>
            </a:schemeClr>
          </a:solidFill>
          <a:ln w="9525">
            <a:solidFill>
              <a:schemeClr val="tx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Рисунок 17">
            <a:extLst>
              <a:ext uri="{FF2B5EF4-FFF2-40B4-BE49-F238E27FC236}">
                <a16:creationId xmlns:a16="http://schemas.microsoft.com/office/drawing/2014/main" id="{289EDCB9-AE11-5843-8024-4B13C105AA7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8907" y="1345076"/>
            <a:ext cx="5490233" cy="4859337"/>
          </a:xfrm>
          <a:custGeom>
            <a:avLst/>
            <a:gdLst>
              <a:gd name="connsiteX0" fmla="*/ 129274 w 5508802"/>
              <a:gd name="connsiteY0" fmla="*/ 0 h 4859337"/>
              <a:gd name="connsiteX1" fmla="*/ 4540653 w 5508802"/>
              <a:gd name="connsiteY1" fmla="*/ 0 h 4859337"/>
              <a:gd name="connsiteX2" fmla="*/ 5501812 w 5508802"/>
              <a:gd name="connsiteY2" fmla="*/ 2420276 h 4859337"/>
              <a:gd name="connsiteX3" fmla="*/ 5506169 w 5508802"/>
              <a:gd name="connsiteY3" fmla="*/ 2426067 h 4859337"/>
              <a:gd name="connsiteX4" fmla="*/ 4532899 w 5508802"/>
              <a:gd name="connsiteY4" fmla="*/ 4859337 h 4859337"/>
              <a:gd name="connsiteX5" fmla="*/ 4532898 w 5508802"/>
              <a:gd name="connsiteY5" fmla="*/ 4859337 h 4859337"/>
              <a:gd name="connsiteX6" fmla="*/ 129277 w 5508802"/>
              <a:gd name="connsiteY6" fmla="*/ 4859337 h 4859337"/>
              <a:gd name="connsiteX7" fmla="*/ 117576 w 5508802"/>
              <a:gd name="connsiteY7" fmla="*/ 4855705 h 4859337"/>
              <a:gd name="connsiteX8" fmla="*/ 15128 w 5508802"/>
              <a:gd name="connsiteY8" fmla="*/ 4753257 h 4859337"/>
              <a:gd name="connsiteX9" fmla="*/ 0 w 5508802"/>
              <a:gd name="connsiteY9" fmla="*/ 4678328 h 4859337"/>
              <a:gd name="connsiteX10" fmla="*/ 0 w 5508802"/>
              <a:gd name="connsiteY10" fmla="*/ 181008 h 4859337"/>
              <a:gd name="connsiteX11" fmla="*/ 15128 w 5508802"/>
              <a:gd name="connsiteY11" fmla="*/ 106080 h 4859337"/>
              <a:gd name="connsiteX12" fmla="*/ 117576 w 5508802"/>
              <a:gd name="connsiteY12" fmla="*/ 3632 h 4859337"/>
              <a:gd name="connsiteX0" fmla="*/ 129274 w 5504144"/>
              <a:gd name="connsiteY0" fmla="*/ 0 h 4859337"/>
              <a:gd name="connsiteX1" fmla="*/ 4540653 w 5504144"/>
              <a:gd name="connsiteY1" fmla="*/ 0 h 4859337"/>
              <a:gd name="connsiteX2" fmla="*/ 5501812 w 5504144"/>
              <a:gd name="connsiteY2" fmla="*/ 2420276 h 4859337"/>
              <a:gd name="connsiteX3" fmla="*/ 5474759 w 5504144"/>
              <a:gd name="connsiteY3" fmla="*/ 2440028 h 4859337"/>
              <a:gd name="connsiteX4" fmla="*/ 4532899 w 5504144"/>
              <a:gd name="connsiteY4" fmla="*/ 4859337 h 4859337"/>
              <a:gd name="connsiteX5" fmla="*/ 4532898 w 5504144"/>
              <a:gd name="connsiteY5" fmla="*/ 4859337 h 4859337"/>
              <a:gd name="connsiteX6" fmla="*/ 129277 w 5504144"/>
              <a:gd name="connsiteY6" fmla="*/ 4859337 h 4859337"/>
              <a:gd name="connsiteX7" fmla="*/ 117576 w 5504144"/>
              <a:gd name="connsiteY7" fmla="*/ 4855705 h 4859337"/>
              <a:gd name="connsiteX8" fmla="*/ 15128 w 5504144"/>
              <a:gd name="connsiteY8" fmla="*/ 4753257 h 4859337"/>
              <a:gd name="connsiteX9" fmla="*/ 0 w 5504144"/>
              <a:gd name="connsiteY9" fmla="*/ 4678328 h 4859337"/>
              <a:gd name="connsiteX10" fmla="*/ 0 w 5504144"/>
              <a:gd name="connsiteY10" fmla="*/ 181008 h 4859337"/>
              <a:gd name="connsiteX11" fmla="*/ 15128 w 5504144"/>
              <a:gd name="connsiteY11" fmla="*/ 106080 h 4859337"/>
              <a:gd name="connsiteX12" fmla="*/ 117576 w 5504144"/>
              <a:gd name="connsiteY12" fmla="*/ 3632 h 4859337"/>
              <a:gd name="connsiteX13" fmla="*/ 129274 w 5504144"/>
              <a:gd name="connsiteY13" fmla="*/ 0 h 4859337"/>
              <a:gd name="connsiteX0" fmla="*/ 129274 w 5488080"/>
              <a:gd name="connsiteY0" fmla="*/ 0 h 4859337"/>
              <a:gd name="connsiteX1" fmla="*/ 4540653 w 5488080"/>
              <a:gd name="connsiteY1" fmla="*/ 0 h 4859337"/>
              <a:gd name="connsiteX2" fmla="*/ 5484362 w 5488080"/>
              <a:gd name="connsiteY2" fmla="*/ 2430747 h 4859337"/>
              <a:gd name="connsiteX3" fmla="*/ 5474759 w 5488080"/>
              <a:gd name="connsiteY3" fmla="*/ 2440028 h 4859337"/>
              <a:gd name="connsiteX4" fmla="*/ 4532899 w 5488080"/>
              <a:gd name="connsiteY4" fmla="*/ 4859337 h 4859337"/>
              <a:gd name="connsiteX5" fmla="*/ 4532898 w 5488080"/>
              <a:gd name="connsiteY5" fmla="*/ 4859337 h 4859337"/>
              <a:gd name="connsiteX6" fmla="*/ 129277 w 5488080"/>
              <a:gd name="connsiteY6" fmla="*/ 4859337 h 4859337"/>
              <a:gd name="connsiteX7" fmla="*/ 117576 w 5488080"/>
              <a:gd name="connsiteY7" fmla="*/ 4855705 h 4859337"/>
              <a:gd name="connsiteX8" fmla="*/ 15128 w 5488080"/>
              <a:gd name="connsiteY8" fmla="*/ 4753257 h 4859337"/>
              <a:gd name="connsiteX9" fmla="*/ 0 w 5488080"/>
              <a:gd name="connsiteY9" fmla="*/ 4678328 h 4859337"/>
              <a:gd name="connsiteX10" fmla="*/ 0 w 5488080"/>
              <a:gd name="connsiteY10" fmla="*/ 181008 h 4859337"/>
              <a:gd name="connsiteX11" fmla="*/ 15128 w 5488080"/>
              <a:gd name="connsiteY11" fmla="*/ 106080 h 4859337"/>
              <a:gd name="connsiteX12" fmla="*/ 117576 w 5488080"/>
              <a:gd name="connsiteY12" fmla="*/ 3632 h 4859337"/>
              <a:gd name="connsiteX13" fmla="*/ 129274 w 5488080"/>
              <a:gd name="connsiteY13" fmla="*/ 0 h 4859337"/>
              <a:gd name="connsiteX0" fmla="*/ 129274 w 5490233"/>
              <a:gd name="connsiteY0" fmla="*/ 0 h 4859337"/>
              <a:gd name="connsiteX1" fmla="*/ 4540653 w 5490233"/>
              <a:gd name="connsiteY1" fmla="*/ 0 h 4859337"/>
              <a:gd name="connsiteX2" fmla="*/ 5484362 w 5490233"/>
              <a:gd name="connsiteY2" fmla="*/ 2430747 h 4859337"/>
              <a:gd name="connsiteX3" fmla="*/ 5485645 w 5490233"/>
              <a:gd name="connsiteY3" fmla="*/ 2429142 h 4859337"/>
              <a:gd name="connsiteX4" fmla="*/ 4532899 w 5490233"/>
              <a:gd name="connsiteY4" fmla="*/ 4859337 h 4859337"/>
              <a:gd name="connsiteX5" fmla="*/ 4532898 w 5490233"/>
              <a:gd name="connsiteY5" fmla="*/ 4859337 h 4859337"/>
              <a:gd name="connsiteX6" fmla="*/ 129277 w 5490233"/>
              <a:gd name="connsiteY6" fmla="*/ 4859337 h 4859337"/>
              <a:gd name="connsiteX7" fmla="*/ 117576 w 5490233"/>
              <a:gd name="connsiteY7" fmla="*/ 4855705 h 4859337"/>
              <a:gd name="connsiteX8" fmla="*/ 15128 w 5490233"/>
              <a:gd name="connsiteY8" fmla="*/ 4753257 h 4859337"/>
              <a:gd name="connsiteX9" fmla="*/ 0 w 5490233"/>
              <a:gd name="connsiteY9" fmla="*/ 4678328 h 4859337"/>
              <a:gd name="connsiteX10" fmla="*/ 0 w 5490233"/>
              <a:gd name="connsiteY10" fmla="*/ 181008 h 4859337"/>
              <a:gd name="connsiteX11" fmla="*/ 15128 w 5490233"/>
              <a:gd name="connsiteY11" fmla="*/ 106080 h 4859337"/>
              <a:gd name="connsiteX12" fmla="*/ 117576 w 5490233"/>
              <a:gd name="connsiteY12" fmla="*/ 3632 h 4859337"/>
              <a:gd name="connsiteX13" fmla="*/ 129274 w 5490233"/>
              <a:gd name="connsiteY13" fmla="*/ 0 h 4859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490233" h="4859337">
                <a:moveTo>
                  <a:pt x="129274" y="0"/>
                </a:moveTo>
                <a:lnTo>
                  <a:pt x="4540653" y="0"/>
                </a:lnTo>
                <a:lnTo>
                  <a:pt x="5484362" y="2430747"/>
                </a:lnTo>
                <a:cubicBezTo>
                  <a:pt x="5496398" y="2437969"/>
                  <a:pt x="5486310" y="2425095"/>
                  <a:pt x="5485645" y="2429142"/>
                </a:cubicBezTo>
                <a:lnTo>
                  <a:pt x="4532899" y="4859337"/>
                </a:lnTo>
                <a:lnTo>
                  <a:pt x="4532898" y="4859337"/>
                </a:lnTo>
                <a:lnTo>
                  <a:pt x="129277" y="4859337"/>
                </a:lnTo>
                <a:lnTo>
                  <a:pt x="117576" y="4855705"/>
                </a:lnTo>
                <a:cubicBezTo>
                  <a:pt x="71513" y="4836222"/>
                  <a:pt x="34611" y="4799320"/>
                  <a:pt x="15128" y="4753257"/>
                </a:cubicBezTo>
                <a:lnTo>
                  <a:pt x="0" y="4678328"/>
                </a:lnTo>
                <a:lnTo>
                  <a:pt x="0" y="181008"/>
                </a:lnTo>
                <a:lnTo>
                  <a:pt x="15128" y="106080"/>
                </a:lnTo>
                <a:cubicBezTo>
                  <a:pt x="34611" y="60017"/>
                  <a:pt x="71513" y="23115"/>
                  <a:pt x="117576" y="3632"/>
                </a:cubicBezTo>
                <a:lnTo>
                  <a:pt x="129274" y="0"/>
                </a:ln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20" name="Полилиния 19">
            <a:extLst>
              <a:ext uri="{FF2B5EF4-FFF2-40B4-BE49-F238E27FC236}">
                <a16:creationId xmlns:a16="http://schemas.microsoft.com/office/drawing/2014/main" id="{AD748ECC-C982-6B4C-88F1-D9C05250EFC0}"/>
              </a:ext>
            </a:extLst>
          </p:cNvPr>
          <p:cNvSpPr/>
          <p:nvPr userDrawn="1"/>
        </p:nvSpPr>
        <p:spPr>
          <a:xfrm rot="5400000">
            <a:off x="5694996" y="1340698"/>
            <a:ext cx="22608" cy="8371"/>
          </a:xfrm>
          <a:custGeom>
            <a:avLst/>
            <a:gdLst>
              <a:gd name="connsiteX0" fmla="*/ 0 w 22608"/>
              <a:gd name="connsiteY0" fmla="*/ 8371 h 8371"/>
              <a:gd name="connsiteX1" fmla="*/ 22608 w 22608"/>
              <a:gd name="connsiteY1" fmla="*/ 0 h 8371"/>
              <a:gd name="connsiteX2" fmla="*/ 22607 w 22608"/>
              <a:gd name="connsiteY2" fmla="*/ 8371 h 8371"/>
              <a:gd name="connsiteX3" fmla="*/ 0 w 22608"/>
              <a:gd name="connsiteY3" fmla="*/ 8371 h 8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608" h="8371">
                <a:moveTo>
                  <a:pt x="0" y="8371"/>
                </a:moveTo>
                <a:lnTo>
                  <a:pt x="22608" y="0"/>
                </a:lnTo>
                <a:lnTo>
                  <a:pt x="22607" y="8371"/>
                </a:lnTo>
                <a:lnTo>
                  <a:pt x="0" y="8371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B0953E44-28C2-E744-92BB-10A39DACC513}"/>
              </a:ext>
            </a:extLst>
          </p:cNvPr>
          <p:cNvGrpSpPr/>
          <p:nvPr userDrawn="1"/>
        </p:nvGrpSpPr>
        <p:grpSpPr>
          <a:xfrm>
            <a:off x="5338119" y="1347617"/>
            <a:ext cx="1210963" cy="4859337"/>
            <a:chOff x="5313405" y="1347617"/>
            <a:chExt cx="1210963" cy="4859337"/>
          </a:xfrm>
        </p:grpSpPr>
        <p:sp>
          <p:nvSpPr>
            <p:cNvPr id="13" name="Нашивка 12">
              <a:extLst>
                <a:ext uri="{FF2B5EF4-FFF2-40B4-BE49-F238E27FC236}">
                  <a16:creationId xmlns:a16="http://schemas.microsoft.com/office/drawing/2014/main" id="{38B57F03-4830-B347-8EA1-C3CC678B2498}"/>
                </a:ext>
              </a:extLst>
            </p:cNvPr>
            <p:cNvSpPr/>
            <p:nvPr/>
          </p:nvSpPr>
          <p:spPr>
            <a:xfrm>
              <a:off x="5436973" y="1347617"/>
              <a:ext cx="1087395" cy="4859337"/>
            </a:xfrm>
            <a:prstGeom prst="chevron">
              <a:avLst>
                <a:gd name="adj" fmla="val 87552"/>
              </a:avLst>
            </a:prstGeom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13827FF2-80E7-9946-AD79-F575624B378A}"/>
                </a:ext>
              </a:extLst>
            </p:cNvPr>
            <p:cNvSpPr/>
            <p:nvPr/>
          </p:nvSpPr>
          <p:spPr>
            <a:xfrm>
              <a:off x="5313405" y="1347617"/>
              <a:ext cx="1087395" cy="4859337"/>
            </a:xfrm>
            <a:prstGeom prst="chevron">
              <a:avLst>
                <a:gd name="adj" fmla="val 87552"/>
              </a:avLst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16" name="Текст 2">
            <a:extLst>
              <a:ext uri="{FF2B5EF4-FFF2-40B4-BE49-F238E27FC236}">
                <a16:creationId xmlns:a16="http://schemas.microsoft.com/office/drawing/2014/main" id="{7220B340-E1FC-7443-B4D1-D57F68C877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976C3353-E06F-F540-9C7F-62F548F02E1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8F5414C5-E2C2-EA4F-B02B-9C2BF3C54513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534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Карточка с градиентом и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2CE25BA9-519A-B44C-8046-3599ACA75B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2CE25BA9-519A-B44C-8046-3599ACA75B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Рисунок 2">
            <a:extLst>
              <a:ext uri="{FF2B5EF4-FFF2-40B4-BE49-F238E27FC236}">
                <a16:creationId xmlns:a16="http://schemas.microsoft.com/office/drawing/2014/main" id="{B2B2737D-BCC6-B549-B21D-CC779C9711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0" name="Заголовок 16">
            <a:extLst>
              <a:ext uri="{FF2B5EF4-FFF2-40B4-BE49-F238E27FC236}">
                <a16:creationId xmlns:a16="http://schemas.microsoft.com/office/drawing/2014/main" id="{120012A5-1BD7-BC42-924B-0339C44060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0EF5BA34-ADAC-1649-8BB5-B836E2F78EE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18F5D55D-FB94-FC4A-B247-84053521ABE3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Текст 2">
            <a:extLst>
              <a:ext uri="{FF2B5EF4-FFF2-40B4-BE49-F238E27FC236}">
                <a16:creationId xmlns:a16="http://schemas.microsoft.com/office/drawing/2014/main" id="{B4357391-10FA-7D45-B935-0E9053E3885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DB472D2-B2B9-8A4B-8D83-B1BA5BB3CB86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 algn="l"/>
              <a:t>‹#›</a:t>
            </a:fld>
            <a:endParaRPr lang="ru-RU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BB529963-21F3-FD42-AE18-C7D109B76E21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tx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3D27AEE3-D63C-7842-A33B-847F1C80D521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25935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вертикальные карточки с фото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6F22A351-A906-FD4A-AF17-DF96C10790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6F22A351-A906-FD4A-AF17-DF96C10790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Рисунок 4">
            <a:extLst>
              <a:ext uri="{FF2B5EF4-FFF2-40B4-BE49-F238E27FC236}">
                <a16:creationId xmlns:a16="http://schemas.microsoft.com/office/drawing/2014/main" id="{54A7A32A-0F62-F54B-B421-C10E8509B78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20738" y="2311400"/>
            <a:ext cx="3248025" cy="1952625"/>
          </a:xfr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9236F921-8E88-A648-A0FF-AA8DD6FFB8E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483286" y="2311400"/>
            <a:ext cx="3248025" cy="1952625"/>
          </a:xfr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6" name="Рисунок 4">
            <a:extLst>
              <a:ext uri="{FF2B5EF4-FFF2-40B4-BE49-F238E27FC236}">
                <a16:creationId xmlns:a16="http://schemas.microsoft.com/office/drawing/2014/main" id="{4605D42A-86C6-474D-8F7F-31E9E7B6534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47813" y="2311400"/>
            <a:ext cx="3248025" cy="1952625"/>
          </a:xfr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8" name="Текст 2">
            <a:extLst>
              <a:ext uri="{FF2B5EF4-FFF2-40B4-BE49-F238E27FC236}">
                <a16:creationId xmlns:a16="http://schemas.microsoft.com/office/drawing/2014/main" id="{6F7AF065-1B16-014D-99B0-A88CC6A2C6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5F6C3B32-62C9-1349-81C3-32EEB370FA33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7B86F741-EC01-3043-B23A-0266623F0C7E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76048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хайлайта с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3AAE98BF-D215-5E4C-A38A-B49101B42C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3AAE98BF-D215-5E4C-A38A-B49101B42C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Рисунок 2">
            <a:extLst>
              <a:ext uri="{FF2B5EF4-FFF2-40B4-BE49-F238E27FC236}">
                <a16:creationId xmlns:a16="http://schemas.microsoft.com/office/drawing/2014/main" id="{F540E14F-28B0-7840-8873-F88D5F76C72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1412" y="-2"/>
            <a:ext cx="6120000" cy="6858001"/>
          </a:xfr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B2B2737D-BCC6-B549-B21D-CC779C9711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6095997" cy="6858000"/>
          </a:xfr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0" name="Заголовок 16">
            <a:extLst>
              <a:ext uri="{FF2B5EF4-FFF2-40B4-BE49-F238E27FC236}">
                <a16:creationId xmlns:a16="http://schemas.microsoft.com/office/drawing/2014/main" id="{120012A5-1BD7-BC42-924B-0339C44060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0EF5BA34-ADAC-1649-8BB5-B836E2F78EE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18F5D55D-FB94-FC4A-B247-84053521ABE3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2">
            <a:extLst>
              <a:ext uri="{FF2B5EF4-FFF2-40B4-BE49-F238E27FC236}">
                <a16:creationId xmlns:a16="http://schemas.microsoft.com/office/drawing/2014/main" id="{79793C7B-296A-6240-9792-871DB6E2CEE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77F431C-1F2A-5E44-BDFA-93A8471B87C0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98160324-1822-A64D-A7EF-818FEA4BEA2C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tx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1AF2A216-EB3B-544B-924F-63FC5DBF51AA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44752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хайлайта с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75A83CC-9EE2-4449-BC43-8F9F3CB86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A75A83CC-9EE2-4449-BC43-8F9F3CB86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Рисунок 2">
            <a:extLst>
              <a:ext uri="{FF2B5EF4-FFF2-40B4-BE49-F238E27FC236}">
                <a16:creationId xmlns:a16="http://schemas.microsoft.com/office/drawing/2014/main" id="{B2B2737D-BCC6-B549-B21D-CC779C9711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2"/>
            <a:ext cx="4068000" cy="6857998"/>
          </a:xfr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2" name="Рисунок 2">
            <a:extLst>
              <a:ext uri="{FF2B5EF4-FFF2-40B4-BE49-F238E27FC236}">
                <a16:creationId xmlns:a16="http://schemas.microsoft.com/office/drawing/2014/main" id="{49DC0046-C910-434A-88C0-4A37DDB77FF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61999" y="0"/>
            <a:ext cx="4089735" cy="6857999"/>
          </a:xfr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6" name="Рисунок 2">
            <a:extLst>
              <a:ext uri="{FF2B5EF4-FFF2-40B4-BE49-F238E27FC236}">
                <a16:creationId xmlns:a16="http://schemas.microsoft.com/office/drawing/2014/main" id="{DFCEA0CC-0AF1-4846-8714-1F4D2831B3E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51734" y="2"/>
            <a:ext cx="4040266" cy="6857998"/>
          </a:xfr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0EF5BA34-ADAC-1649-8BB5-B836E2F78EE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18F5D55D-FB94-FC4A-B247-84053521ABE3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Заголовок 16">
            <a:extLst>
              <a:ext uri="{FF2B5EF4-FFF2-40B4-BE49-F238E27FC236}">
                <a16:creationId xmlns:a16="http://schemas.microsoft.com/office/drawing/2014/main" id="{120012A5-1BD7-BC42-924B-0339C44060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 marL="0" indent="0">
              <a:tabLst>
                <a:tab pos="3721100" algn="l"/>
              </a:tabLst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7" name="Текст 2">
            <a:extLst>
              <a:ext uri="{FF2B5EF4-FFF2-40B4-BE49-F238E27FC236}">
                <a16:creationId xmlns:a16="http://schemas.microsoft.com/office/drawing/2014/main" id="{8891A38A-68ED-E14B-A600-6C40DAAFC3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993F551-2870-DD44-9793-96EA7C5FCABE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E314D1FA-E7FA-9849-BC54-2AB688CD9D6B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tx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31529822-1A31-BE48-81E4-338C3E102713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5180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хайлайта с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F79BFCF-0513-BB43-8C0E-FD98BCB588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AF79BFCF-0513-BB43-8C0E-FD98BCB58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Рисунок 2">
            <a:extLst>
              <a:ext uri="{FF2B5EF4-FFF2-40B4-BE49-F238E27FC236}">
                <a16:creationId xmlns:a16="http://schemas.microsoft.com/office/drawing/2014/main" id="{B2B2737D-BCC6-B549-B21D-CC779C9711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3072701" cy="6858000"/>
          </a:xfr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0EF5BA34-ADAC-1649-8BB5-B836E2F78EE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AF7ABE9-7A11-A245-8734-8344564803F6}"/>
              </a:ext>
            </a:extLst>
          </p:cNvPr>
          <p:cNvSpPr txBox="1"/>
          <p:nvPr userDrawn="1"/>
        </p:nvSpPr>
        <p:spPr>
          <a:xfrm>
            <a:off x="11049960" y="6462296"/>
            <a:ext cx="338765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r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7" name="Рисунок 2">
            <a:extLst>
              <a:ext uri="{FF2B5EF4-FFF2-40B4-BE49-F238E27FC236}">
                <a16:creationId xmlns:a16="http://schemas.microsoft.com/office/drawing/2014/main" id="{A729587E-E652-7946-8C92-DDC2AE8285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048234" y="0"/>
            <a:ext cx="3060000" cy="6858000"/>
          </a:xfr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8" name="Рисунок 2">
            <a:extLst>
              <a:ext uri="{FF2B5EF4-FFF2-40B4-BE49-F238E27FC236}">
                <a16:creationId xmlns:a16="http://schemas.microsoft.com/office/drawing/2014/main" id="{9E32ACDA-BAF1-5D42-86D5-F7ED889DBE9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83767" y="0"/>
            <a:ext cx="3060000" cy="6858000"/>
          </a:xfr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9" name="Рисунок 2">
            <a:extLst>
              <a:ext uri="{FF2B5EF4-FFF2-40B4-BE49-F238E27FC236}">
                <a16:creationId xmlns:a16="http://schemas.microsoft.com/office/drawing/2014/main" id="{01BD0279-8285-1C4E-A108-7937827AD0C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19298" y="-2"/>
            <a:ext cx="3072701" cy="6858001"/>
          </a:xfr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18F5D55D-FB94-FC4A-B247-84053521ABE3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Заголовок 16">
            <a:extLst>
              <a:ext uri="{FF2B5EF4-FFF2-40B4-BE49-F238E27FC236}">
                <a16:creationId xmlns:a16="http://schemas.microsoft.com/office/drawing/2014/main" id="{120012A5-1BD7-BC42-924B-0339C44060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 marL="0" indent="0">
              <a:tabLst>
                <a:tab pos="3721100" algn="l"/>
              </a:tabLst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D23E247-C164-B94F-AF44-119467728DD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1297" y="540920"/>
            <a:ext cx="1065725" cy="355419"/>
          </a:xfrm>
          <a:prstGeom prst="rect">
            <a:avLst/>
          </a:prstGeom>
        </p:spPr>
      </p:pic>
      <p:sp>
        <p:nvSpPr>
          <p:cNvPr id="20" name="Текст 2">
            <a:extLst>
              <a:ext uri="{FF2B5EF4-FFF2-40B4-BE49-F238E27FC236}">
                <a16:creationId xmlns:a16="http://schemas.microsoft.com/office/drawing/2014/main" id="{7C5C851D-6422-F84C-9E3B-3DCE985670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21CE91D-6B0B-A646-8A6D-031751374C94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B4C12A0-7419-954A-B4A1-6EAA8D2295ED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tx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9D8E1B5F-2E2C-FA43-A616-018BB629B8EE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2746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командой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A553710-8EB1-D749-A488-B003541240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AA553710-8EB1-D749-A488-B003541240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Рисунок 13">
            <a:extLst>
              <a:ext uri="{FF2B5EF4-FFF2-40B4-BE49-F238E27FC236}">
                <a16:creationId xmlns:a16="http://schemas.microsoft.com/office/drawing/2014/main" id="{F537E8E3-816C-2544-91F9-4B33037D29C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864343" y="1385106"/>
            <a:ext cx="1116000" cy="1116000"/>
          </a:xfrm>
          <a:prstGeom prst="ellipse">
            <a:avLst/>
          </a:prstGeom>
          <a:pattFill prst="lgCheck">
            <a:fgClr>
              <a:schemeClr val="tx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6" name="Рисунок 13">
            <a:extLst>
              <a:ext uri="{FF2B5EF4-FFF2-40B4-BE49-F238E27FC236}">
                <a16:creationId xmlns:a16="http://schemas.microsoft.com/office/drawing/2014/main" id="{97B0A150-AB47-874D-96C9-DE360A01A15C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64343" y="3210347"/>
            <a:ext cx="1116000" cy="1116000"/>
          </a:xfrm>
          <a:prstGeom prst="ellipse">
            <a:avLst/>
          </a:prstGeom>
          <a:pattFill prst="lgCheck">
            <a:fgClr>
              <a:schemeClr val="tx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7" name="Рисунок 13">
            <a:extLst>
              <a:ext uri="{FF2B5EF4-FFF2-40B4-BE49-F238E27FC236}">
                <a16:creationId xmlns:a16="http://schemas.microsoft.com/office/drawing/2014/main" id="{B7E6E8E3-1174-144D-B9A7-77104747AE58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64343" y="5043888"/>
            <a:ext cx="1116000" cy="1116000"/>
          </a:xfrm>
          <a:prstGeom prst="ellipse">
            <a:avLst/>
          </a:prstGeom>
          <a:pattFill prst="lgCheck">
            <a:fgClr>
              <a:schemeClr val="tx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8" name="Рисунок 13">
            <a:extLst>
              <a:ext uri="{FF2B5EF4-FFF2-40B4-BE49-F238E27FC236}">
                <a16:creationId xmlns:a16="http://schemas.microsoft.com/office/drawing/2014/main" id="{7BDAB4F6-51C0-F848-9832-591B5C309C46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4554113" y="1376806"/>
            <a:ext cx="1116000" cy="1116000"/>
          </a:xfrm>
          <a:prstGeom prst="ellipse">
            <a:avLst/>
          </a:prstGeom>
          <a:pattFill prst="lgCheck">
            <a:fgClr>
              <a:schemeClr val="tx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9" name="Рисунок 13">
            <a:extLst>
              <a:ext uri="{FF2B5EF4-FFF2-40B4-BE49-F238E27FC236}">
                <a16:creationId xmlns:a16="http://schemas.microsoft.com/office/drawing/2014/main" id="{A14C52C0-480A-484F-B424-8467E507D069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8243883" y="1376806"/>
            <a:ext cx="1116000" cy="1116000"/>
          </a:xfrm>
          <a:prstGeom prst="ellipse">
            <a:avLst/>
          </a:prstGeom>
          <a:pattFill prst="lgCheck">
            <a:fgClr>
              <a:schemeClr val="tx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0" name="Рисунок 13">
            <a:extLst>
              <a:ext uri="{FF2B5EF4-FFF2-40B4-BE49-F238E27FC236}">
                <a16:creationId xmlns:a16="http://schemas.microsoft.com/office/drawing/2014/main" id="{0272647E-2316-CA4F-9A62-7BCA4D42E7D6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54113" y="3210347"/>
            <a:ext cx="1116000" cy="1116000"/>
          </a:xfrm>
          <a:prstGeom prst="ellipse">
            <a:avLst/>
          </a:prstGeom>
          <a:pattFill prst="lgCheck">
            <a:fgClr>
              <a:schemeClr val="tx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1" name="Рисунок 13">
            <a:extLst>
              <a:ext uri="{FF2B5EF4-FFF2-40B4-BE49-F238E27FC236}">
                <a16:creationId xmlns:a16="http://schemas.microsoft.com/office/drawing/2014/main" id="{5974A209-122A-5F41-A13F-25522C1B6E7E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8243883" y="3210347"/>
            <a:ext cx="1116000" cy="1116000"/>
          </a:xfrm>
          <a:prstGeom prst="ellipse">
            <a:avLst/>
          </a:prstGeom>
          <a:pattFill prst="lgCheck">
            <a:fgClr>
              <a:schemeClr val="tx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2" name="Рисунок 13">
            <a:extLst>
              <a:ext uri="{FF2B5EF4-FFF2-40B4-BE49-F238E27FC236}">
                <a16:creationId xmlns:a16="http://schemas.microsoft.com/office/drawing/2014/main" id="{4E511F35-5BA5-CA45-A4CC-D3C500DE3296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4554113" y="5043888"/>
            <a:ext cx="1116000" cy="1116000"/>
          </a:xfrm>
          <a:prstGeom prst="ellipse">
            <a:avLst/>
          </a:prstGeom>
          <a:pattFill prst="lgCheck">
            <a:fgClr>
              <a:schemeClr val="tx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3" name="Рисунок 13">
            <a:extLst>
              <a:ext uri="{FF2B5EF4-FFF2-40B4-BE49-F238E27FC236}">
                <a16:creationId xmlns:a16="http://schemas.microsoft.com/office/drawing/2014/main" id="{F73DD4C3-358E-BB40-A4F1-7F39008F69AE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8243883" y="5043888"/>
            <a:ext cx="1116000" cy="1116000"/>
          </a:xfrm>
          <a:prstGeom prst="ellipse">
            <a:avLst/>
          </a:prstGeom>
          <a:pattFill prst="lgCheck">
            <a:fgClr>
              <a:schemeClr val="tx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18" name="Текст 2">
            <a:extLst>
              <a:ext uri="{FF2B5EF4-FFF2-40B4-BE49-F238E27FC236}">
                <a16:creationId xmlns:a16="http://schemas.microsoft.com/office/drawing/2014/main" id="{F19BE0CC-9355-3F40-936D-3F8626544E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8E2307BE-66F3-7D44-9102-694445144759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55AF4710-4919-F146-A8CA-3C89CC53816F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62745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Слайд с контактами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9CA8D65A-CD26-894A-B070-5C035F2A04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9CA8D65A-CD26-894A-B070-5C035F2A04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810B0541-1057-CD46-B9A5-6549F4AEE5BD}"/>
              </a:ext>
            </a:extLst>
          </p:cNvPr>
          <p:cNvGrpSpPr/>
          <p:nvPr userDrawn="1"/>
        </p:nvGrpSpPr>
        <p:grpSpPr>
          <a:xfrm>
            <a:off x="3445589" y="1348162"/>
            <a:ext cx="771073" cy="2778654"/>
            <a:chOff x="3445589" y="1348162"/>
            <a:chExt cx="771073" cy="2778654"/>
          </a:xfrm>
        </p:grpSpPr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4B4A7E79-CD9E-8046-B435-F57ACE87C22A}"/>
                </a:ext>
              </a:extLst>
            </p:cNvPr>
            <p:cNvSpPr/>
            <p:nvPr/>
          </p:nvSpPr>
          <p:spPr>
            <a:xfrm>
              <a:off x="3586782" y="1348162"/>
              <a:ext cx="629880" cy="2778654"/>
            </a:xfrm>
            <a:prstGeom prst="chevron">
              <a:avLst>
                <a:gd name="adj" fmla="val 79013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5" name="Нашивка 14">
              <a:extLst>
                <a:ext uri="{FF2B5EF4-FFF2-40B4-BE49-F238E27FC236}">
                  <a16:creationId xmlns:a16="http://schemas.microsoft.com/office/drawing/2014/main" id="{0A198EC9-08B4-7E4D-A5B0-628EE7D8B1FA}"/>
                </a:ext>
              </a:extLst>
            </p:cNvPr>
            <p:cNvSpPr/>
            <p:nvPr/>
          </p:nvSpPr>
          <p:spPr>
            <a:xfrm>
              <a:off x="3445589" y="1348162"/>
              <a:ext cx="629880" cy="2778654"/>
            </a:xfrm>
            <a:prstGeom prst="chevron">
              <a:avLst>
                <a:gd name="adj" fmla="val 79013"/>
              </a:avLst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19" name="Рисунок 18">
            <a:extLst>
              <a:ext uri="{FF2B5EF4-FFF2-40B4-BE49-F238E27FC236}">
                <a16:creationId xmlns:a16="http://schemas.microsoft.com/office/drawing/2014/main" id="{C7F3CBE2-441C-F245-B292-5E89FE31F77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4785" y="1348127"/>
            <a:ext cx="3131741" cy="2771436"/>
          </a:xfrm>
          <a:custGeom>
            <a:avLst/>
            <a:gdLst>
              <a:gd name="connsiteX0" fmla="*/ 115649 w 3131741"/>
              <a:gd name="connsiteY0" fmla="*/ 0 h 2771436"/>
              <a:gd name="connsiteX1" fmla="*/ 2638631 w 3131741"/>
              <a:gd name="connsiteY1" fmla="*/ 0 h 2771436"/>
              <a:gd name="connsiteX2" fmla="*/ 3131741 w 3131741"/>
              <a:gd name="connsiteY2" fmla="*/ 1384518 h 2771436"/>
              <a:gd name="connsiteX3" fmla="*/ 3131741 w 3131741"/>
              <a:gd name="connsiteY3" fmla="*/ 1387483 h 2771436"/>
              <a:gd name="connsiteX4" fmla="*/ 2638832 w 3131741"/>
              <a:gd name="connsiteY4" fmla="*/ 2771436 h 2771436"/>
              <a:gd name="connsiteX5" fmla="*/ 79723 w 3131741"/>
              <a:gd name="connsiteY5" fmla="*/ 2771436 h 2771436"/>
              <a:gd name="connsiteX6" fmla="*/ 70633 w 3131741"/>
              <a:gd name="connsiteY6" fmla="*/ 2769601 h 2771436"/>
              <a:gd name="connsiteX7" fmla="*/ 0 w 3131741"/>
              <a:gd name="connsiteY7" fmla="*/ 2663040 h 2771436"/>
              <a:gd name="connsiteX8" fmla="*/ 0 w 3131741"/>
              <a:gd name="connsiteY8" fmla="*/ 115649 h 2771436"/>
              <a:gd name="connsiteX9" fmla="*/ 115649 w 3131741"/>
              <a:gd name="connsiteY9" fmla="*/ 0 h 2771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31741" h="2771436">
                <a:moveTo>
                  <a:pt x="115649" y="0"/>
                </a:moveTo>
                <a:lnTo>
                  <a:pt x="2638631" y="0"/>
                </a:lnTo>
                <a:lnTo>
                  <a:pt x="3131741" y="1384518"/>
                </a:lnTo>
                <a:lnTo>
                  <a:pt x="3131741" y="1387483"/>
                </a:lnTo>
                <a:lnTo>
                  <a:pt x="2638832" y="2771436"/>
                </a:lnTo>
                <a:lnTo>
                  <a:pt x="79723" y="2771436"/>
                </a:lnTo>
                <a:lnTo>
                  <a:pt x="70633" y="2769601"/>
                </a:lnTo>
                <a:cubicBezTo>
                  <a:pt x="29125" y="2752044"/>
                  <a:pt x="0" y="2710943"/>
                  <a:pt x="0" y="2663040"/>
                </a:cubicBezTo>
                <a:lnTo>
                  <a:pt x="0" y="115649"/>
                </a:lnTo>
                <a:cubicBezTo>
                  <a:pt x="0" y="51778"/>
                  <a:pt x="51778" y="0"/>
                  <a:pt x="115649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F26ABBD4-C954-894B-B2B1-49C9529E24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3611A81E-E8D2-9140-8AA6-2A2F8C3391E0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790147DF-8F69-1B45-822B-2C8CEC604618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1107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2/3 заливки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331CB090-1FE3-384B-9D86-A7F938FB7D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331CB090-1FE3-384B-9D86-A7F938FB7D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F31A9401-66B5-EB45-B593-DBE86B2D64EB}"/>
              </a:ext>
            </a:extLst>
          </p:cNvPr>
          <p:cNvGrpSpPr/>
          <p:nvPr userDrawn="1"/>
        </p:nvGrpSpPr>
        <p:grpSpPr>
          <a:xfrm>
            <a:off x="3649466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14" name="Полилиния 13">
            <a:extLst>
              <a:ext uri="{FF2B5EF4-FFF2-40B4-BE49-F238E27FC236}">
                <a16:creationId xmlns:a16="http://schemas.microsoft.com/office/drawing/2014/main" id="{96EE0B24-B8A3-0548-8081-25AD766E440C}"/>
              </a:ext>
            </a:extLst>
          </p:cNvPr>
          <p:cNvSpPr/>
          <p:nvPr userDrawn="1"/>
        </p:nvSpPr>
        <p:spPr>
          <a:xfrm>
            <a:off x="3867461" y="0"/>
            <a:ext cx="8324539" cy="6858000"/>
          </a:xfrm>
          <a:custGeom>
            <a:avLst/>
            <a:gdLst>
              <a:gd name="connsiteX0" fmla="*/ 0 w 8399490"/>
              <a:gd name="connsiteY0" fmla="*/ 0 h 6858000"/>
              <a:gd name="connsiteX1" fmla="*/ 1312888 w 8399490"/>
              <a:gd name="connsiteY1" fmla="*/ 0 h 6858000"/>
              <a:gd name="connsiteX2" fmla="*/ 7104699 w 8399490"/>
              <a:gd name="connsiteY2" fmla="*/ 0 h 6858000"/>
              <a:gd name="connsiteX3" fmla="*/ 8399490 w 8399490"/>
              <a:gd name="connsiteY3" fmla="*/ 0 h 6858000"/>
              <a:gd name="connsiteX4" fmla="*/ 8399490 w 8399490"/>
              <a:gd name="connsiteY4" fmla="*/ 6858000 h 6858000"/>
              <a:gd name="connsiteX5" fmla="*/ 8399489 w 8399490"/>
              <a:gd name="connsiteY5" fmla="*/ 6858000 h 6858000"/>
              <a:gd name="connsiteX6" fmla="*/ 1312888 w 8399490"/>
              <a:gd name="connsiteY6" fmla="*/ 6858000 h 6858000"/>
              <a:gd name="connsiteX7" fmla="*/ 1294790 w 839949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399490" h="6858000">
                <a:moveTo>
                  <a:pt x="0" y="0"/>
                </a:moveTo>
                <a:lnTo>
                  <a:pt x="1312888" y="0"/>
                </a:lnTo>
                <a:lnTo>
                  <a:pt x="7104699" y="0"/>
                </a:lnTo>
                <a:lnTo>
                  <a:pt x="8399490" y="0"/>
                </a:lnTo>
                <a:lnTo>
                  <a:pt x="8399490" y="6858000"/>
                </a:lnTo>
                <a:lnTo>
                  <a:pt x="8399489" y="6858000"/>
                </a:lnTo>
                <a:lnTo>
                  <a:pt x="1312888" y="6858000"/>
                </a:lnTo>
                <a:lnTo>
                  <a:pt x="1294790" y="685800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FAE0686-3352-DF49-A0BE-4036C672982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8" name="Заголовок 16">
            <a:extLst>
              <a:ext uri="{FF2B5EF4-FFF2-40B4-BE49-F238E27FC236}">
                <a16:creationId xmlns:a16="http://schemas.microsoft.com/office/drawing/2014/main" id="{4DAFD9ED-F51F-7946-A209-364F853CB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7" y="402822"/>
            <a:ext cx="2630329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C251DC40-B978-F64A-9CDE-4F61D94F85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3833627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29FF4D68-3FF9-5B44-B685-123DD897E6E0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6EEBFA74-84E0-7045-B360-ADA292591A7A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CB1F8A37-9FB8-0B48-B9A8-FFF00F4567C8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tx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3367201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сширенный слайд с контактами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10661A6-6AFF-8544-81FE-15464A7EA4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E10661A6-6AFF-8544-81FE-15464A7EA4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6866C39B-C013-2643-9A19-721E15B83DB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193800" y="1724328"/>
            <a:ext cx="1713211" cy="1712611"/>
          </a:xfrm>
          <a:custGeom>
            <a:avLst/>
            <a:gdLst>
              <a:gd name="connsiteX0" fmla="*/ 856606 w 1713211"/>
              <a:gd name="connsiteY0" fmla="*/ 0 h 1712611"/>
              <a:gd name="connsiteX1" fmla="*/ 1708790 w 1713211"/>
              <a:gd name="connsiteY1" fmla="*/ 769023 h 1712611"/>
              <a:gd name="connsiteX2" fmla="*/ 1713211 w 1713211"/>
              <a:gd name="connsiteY2" fmla="*/ 856586 h 1712611"/>
              <a:gd name="connsiteX3" fmla="*/ 1713211 w 1713211"/>
              <a:gd name="connsiteY3" fmla="*/ 856626 h 1712611"/>
              <a:gd name="connsiteX4" fmla="*/ 1708790 w 1713211"/>
              <a:gd name="connsiteY4" fmla="*/ 944189 h 1712611"/>
              <a:gd name="connsiteX5" fmla="*/ 944189 w 1713211"/>
              <a:gd name="connsiteY5" fmla="*/ 1708790 h 1712611"/>
              <a:gd name="connsiteX6" fmla="*/ 868508 w 1713211"/>
              <a:gd name="connsiteY6" fmla="*/ 1712611 h 1712611"/>
              <a:gd name="connsiteX7" fmla="*/ 844704 w 1713211"/>
              <a:gd name="connsiteY7" fmla="*/ 1712611 h 1712611"/>
              <a:gd name="connsiteX8" fmla="*/ 769023 w 1713211"/>
              <a:gd name="connsiteY8" fmla="*/ 1708790 h 1712611"/>
              <a:gd name="connsiteX9" fmla="*/ 0 w 1713211"/>
              <a:gd name="connsiteY9" fmla="*/ 856606 h 1712611"/>
              <a:gd name="connsiteX10" fmla="*/ 856606 w 1713211"/>
              <a:gd name="connsiteY10" fmla="*/ 0 h 1712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13211" h="1712611">
                <a:moveTo>
                  <a:pt x="856606" y="0"/>
                </a:moveTo>
                <a:cubicBezTo>
                  <a:pt x="1300128" y="0"/>
                  <a:pt x="1664923" y="337075"/>
                  <a:pt x="1708790" y="769023"/>
                </a:cubicBezTo>
                <a:lnTo>
                  <a:pt x="1713211" y="856586"/>
                </a:lnTo>
                <a:lnTo>
                  <a:pt x="1713211" y="856626"/>
                </a:lnTo>
                <a:lnTo>
                  <a:pt x="1708790" y="944189"/>
                </a:lnTo>
                <a:cubicBezTo>
                  <a:pt x="1667847" y="1347341"/>
                  <a:pt x="1347341" y="1667847"/>
                  <a:pt x="944189" y="1708790"/>
                </a:cubicBezTo>
                <a:lnTo>
                  <a:pt x="868508" y="1712611"/>
                </a:lnTo>
                <a:lnTo>
                  <a:pt x="844704" y="1712611"/>
                </a:lnTo>
                <a:lnTo>
                  <a:pt x="769023" y="1708790"/>
                </a:lnTo>
                <a:cubicBezTo>
                  <a:pt x="337075" y="1664923"/>
                  <a:pt x="0" y="1300128"/>
                  <a:pt x="0" y="856606"/>
                </a:cubicBezTo>
                <a:cubicBezTo>
                  <a:pt x="0" y="383516"/>
                  <a:pt x="383516" y="0"/>
                  <a:pt x="856606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EDE18CFA-4597-C542-BD6A-BB6556226B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163F073C-BF3E-F34E-B467-C7DE312DB4CD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EFC3422F-D15C-C84F-88C3-7229DD67E0AA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621198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 компании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CABB8F2-733D-7F43-AC63-395A8A161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ACABB8F2-733D-7F43-AC63-395A8A1614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69D28E57-41BD-734F-ABC1-1CE649C7D8D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864397" y="-2744"/>
            <a:ext cx="7327603" cy="6863489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17201" h="6844239">
                <a:moveTo>
                  <a:pt x="0" y="0"/>
                </a:moveTo>
                <a:lnTo>
                  <a:pt x="7317201" y="0"/>
                </a:lnTo>
                <a:lnTo>
                  <a:pt x="7317201" y="6844239"/>
                </a:lnTo>
                <a:lnTo>
                  <a:pt x="0" y="6844239"/>
                </a:lnTo>
                <a:lnTo>
                  <a:pt x="0" y="6825611"/>
                </a:lnTo>
                <a:lnTo>
                  <a:pt x="1183573" y="3424239"/>
                </a:lnTo>
                <a:lnTo>
                  <a:pt x="0" y="22866"/>
                </a:ln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38BAF189-7717-0640-8C8C-ED5E2ED62208}"/>
              </a:ext>
            </a:extLst>
          </p:cNvPr>
          <p:cNvGrpSpPr/>
          <p:nvPr userDrawn="1"/>
        </p:nvGrpSpPr>
        <p:grpSpPr>
          <a:xfrm>
            <a:off x="4612146" y="-3357"/>
            <a:ext cx="1442729" cy="6876000"/>
            <a:chOff x="3106995" y="0"/>
            <a:chExt cx="1442729" cy="6858000"/>
          </a:xfrm>
        </p:grpSpPr>
        <p:sp>
          <p:nvSpPr>
            <p:cNvPr id="10" name="Нашивка 9">
              <a:extLst>
                <a:ext uri="{FF2B5EF4-FFF2-40B4-BE49-F238E27FC236}">
                  <a16:creationId xmlns:a16="http://schemas.microsoft.com/office/drawing/2014/main" id="{AF822873-8C8D-1043-BA6F-04B9699CC2D6}"/>
                </a:ext>
              </a:extLst>
            </p:cNvPr>
            <p:cNvSpPr/>
            <p:nvPr userDrawn="1"/>
          </p:nvSpPr>
          <p:spPr>
            <a:xfrm>
              <a:off x="3106995" y="0"/>
              <a:ext cx="1315103" cy="6858000"/>
            </a:xfrm>
            <a:prstGeom prst="chevron">
              <a:avLst>
                <a:gd name="adj" fmla="val 89479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1" name="Нашивка 10">
              <a:extLst>
                <a:ext uri="{FF2B5EF4-FFF2-40B4-BE49-F238E27FC236}">
                  <a16:creationId xmlns:a16="http://schemas.microsoft.com/office/drawing/2014/main" id="{953148FE-FF88-A245-8A8A-48BDA4067A84}"/>
                </a:ext>
              </a:extLst>
            </p:cNvPr>
            <p:cNvSpPr/>
            <p:nvPr userDrawn="1"/>
          </p:nvSpPr>
          <p:spPr>
            <a:xfrm>
              <a:off x="3234621" y="0"/>
              <a:ext cx="1315103" cy="6858000"/>
            </a:xfrm>
            <a:prstGeom prst="chevron">
              <a:avLst>
                <a:gd name="adj" fmla="val 89479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46B69F67-B055-7640-8853-181616F115A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6" name="Заголовок 16">
            <a:extLst>
              <a:ext uri="{FF2B5EF4-FFF2-40B4-BE49-F238E27FC236}">
                <a16:creationId xmlns:a16="http://schemas.microsoft.com/office/drawing/2014/main" id="{F1C14830-24AB-4749-BC5F-7A646C87AE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3803239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AA790474-46FC-9941-AE33-0D3A2D0224A3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2C322BA2-087E-0745-A341-7E93A885438A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6836"/>
            <a:ext cx="0" cy="159026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E6EEB85F-5429-D048-AD72-EFBE1D8A2DF5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6F595A2B-72A1-E347-9CA0-14DD22536CCA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6C5022CC-AF62-FF4A-B915-BCD69BA94596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474649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рганизационная структура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lIns="0" tIns="0" rIns="0" bIns="0" anchor="t">
            <a:norm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Рисунок 22">
            <a:extLst>
              <a:ext uri="{FF2B5EF4-FFF2-40B4-BE49-F238E27FC236}">
                <a16:creationId xmlns:a16="http://schemas.microsoft.com/office/drawing/2014/main" id="{20E9805F-2999-1542-BF9D-617EE1DF5E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784689" y="1364089"/>
            <a:ext cx="1041366" cy="1044032"/>
          </a:xfrm>
          <a:custGeom>
            <a:avLst/>
            <a:gdLst>
              <a:gd name="connsiteX0" fmla="*/ 522016 w 1041366"/>
              <a:gd name="connsiteY0" fmla="*/ 0 h 1044032"/>
              <a:gd name="connsiteX1" fmla="*/ 1033427 w 1041366"/>
              <a:gd name="connsiteY1" fmla="*/ 416812 h 1044032"/>
              <a:gd name="connsiteX2" fmla="*/ 1041366 w 1041366"/>
              <a:gd name="connsiteY2" fmla="*/ 495570 h 1044032"/>
              <a:gd name="connsiteX3" fmla="*/ 1041366 w 1041366"/>
              <a:gd name="connsiteY3" fmla="*/ 548462 h 1044032"/>
              <a:gd name="connsiteX4" fmla="*/ 1033427 w 1041366"/>
              <a:gd name="connsiteY4" fmla="*/ 627220 h 1044032"/>
              <a:gd name="connsiteX5" fmla="*/ 522016 w 1041366"/>
              <a:gd name="connsiteY5" fmla="*/ 1044032 h 1044032"/>
              <a:gd name="connsiteX6" fmla="*/ 0 w 1041366"/>
              <a:gd name="connsiteY6" fmla="*/ 522016 h 1044032"/>
              <a:gd name="connsiteX7" fmla="*/ 522016 w 1041366"/>
              <a:gd name="connsiteY7" fmla="*/ 0 h 1044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41366" h="1044032">
                <a:moveTo>
                  <a:pt x="522016" y="0"/>
                </a:moveTo>
                <a:cubicBezTo>
                  <a:pt x="774280" y="0"/>
                  <a:pt x="984751" y="178938"/>
                  <a:pt x="1033427" y="416812"/>
                </a:cubicBezTo>
                <a:lnTo>
                  <a:pt x="1041366" y="495570"/>
                </a:lnTo>
                <a:lnTo>
                  <a:pt x="1041366" y="548462"/>
                </a:lnTo>
                <a:lnTo>
                  <a:pt x="1033427" y="627220"/>
                </a:lnTo>
                <a:cubicBezTo>
                  <a:pt x="984751" y="865094"/>
                  <a:pt x="774280" y="1044032"/>
                  <a:pt x="522016" y="1044032"/>
                </a:cubicBezTo>
                <a:cubicBezTo>
                  <a:pt x="233715" y="1044032"/>
                  <a:pt x="0" y="810317"/>
                  <a:pt x="0" y="522016"/>
                </a:cubicBezTo>
                <a:cubicBezTo>
                  <a:pt x="0" y="233715"/>
                  <a:pt x="233715" y="0"/>
                  <a:pt x="522016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tx2"/>
            </a:bgClr>
          </a:patt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4" name="Рисунок 23">
            <a:extLst>
              <a:ext uri="{FF2B5EF4-FFF2-40B4-BE49-F238E27FC236}">
                <a16:creationId xmlns:a16="http://schemas.microsoft.com/office/drawing/2014/main" id="{D20CEDD1-1803-5743-8602-40013F9175C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01776" y="1364089"/>
            <a:ext cx="1042587" cy="1044032"/>
          </a:xfrm>
          <a:custGeom>
            <a:avLst/>
            <a:gdLst>
              <a:gd name="connsiteX0" fmla="*/ 520571 w 1042587"/>
              <a:gd name="connsiteY0" fmla="*/ 0 h 1044032"/>
              <a:gd name="connsiteX1" fmla="*/ 1042587 w 1042587"/>
              <a:gd name="connsiteY1" fmla="*/ 522016 h 1044032"/>
              <a:gd name="connsiteX2" fmla="*/ 520571 w 1042587"/>
              <a:gd name="connsiteY2" fmla="*/ 1044032 h 1044032"/>
              <a:gd name="connsiteX3" fmla="*/ 9161 w 1042587"/>
              <a:gd name="connsiteY3" fmla="*/ 627220 h 1044032"/>
              <a:gd name="connsiteX4" fmla="*/ 0 w 1042587"/>
              <a:gd name="connsiteY4" fmla="*/ 536350 h 1044032"/>
              <a:gd name="connsiteX5" fmla="*/ 0 w 1042587"/>
              <a:gd name="connsiteY5" fmla="*/ 507682 h 1044032"/>
              <a:gd name="connsiteX6" fmla="*/ 9161 w 1042587"/>
              <a:gd name="connsiteY6" fmla="*/ 416812 h 1044032"/>
              <a:gd name="connsiteX7" fmla="*/ 520571 w 1042587"/>
              <a:gd name="connsiteY7" fmla="*/ 0 h 1044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42587" h="1044032">
                <a:moveTo>
                  <a:pt x="520571" y="0"/>
                </a:moveTo>
                <a:cubicBezTo>
                  <a:pt x="808872" y="0"/>
                  <a:pt x="1042587" y="233715"/>
                  <a:pt x="1042587" y="522016"/>
                </a:cubicBezTo>
                <a:cubicBezTo>
                  <a:pt x="1042587" y="810317"/>
                  <a:pt x="808872" y="1044032"/>
                  <a:pt x="520571" y="1044032"/>
                </a:cubicBezTo>
                <a:cubicBezTo>
                  <a:pt x="268308" y="1044032"/>
                  <a:pt x="57837" y="865094"/>
                  <a:pt x="9161" y="627220"/>
                </a:cubicBezTo>
                <a:lnTo>
                  <a:pt x="0" y="536350"/>
                </a:lnTo>
                <a:lnTo>
                  <a:pt x="0" y="507682"/>
                </a:lnTo>
                <a:lnTo>
                  <a:pt x="9161" y="416812"/>
                </a:lnTo>
                <a:cubicBezTo>
                  <a:pt x="57837" y="178938"/>
                  <a:pt x="268308" y="0"/>
                  <a:pt x="520571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tx2"/>
            </a:bgClr>
          </a:patt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03A3C658-F78B-934F-B8FA-C006A7A8B23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8544" y="1364089"/>
            <a:ext cx="1043594" cy="1044032"/>
          </a:xfrm>
          <a:custGeom>
            <a:avLst/>
            <a:gdLst>
              <a:gd name="connsiteX0" fmla="*/ 522016 w 1043594"/>
              <a:gd name="connsiteY0" fmla="*/ 0 h 1044032"/>
              <a:gd name="connsiteX1" fmla="*/ 1033427 w 1043594"/>
              <a:gd name="connsiteY1" fmla="*/ 416812 h 1044032"/>
              <a:gd name="connsiteX2" fmla="*/ 1043594 w 1043594"/>
              <a:gd name="connsiteY2" fmla="*/ 517671 h 1044032"/>
              <a:gd name="connsiteX3" fmla="*/ 1043594 w 1043594"/>
              <a:gd name="connsiteY3" fmla="*/ 526361 h 1044032"/>
              <a:gd name="connsiteX4" fmla="*/ 1033427 w 1043594"/>
              <a:gd name="connsiteY4" fmla="*/ 627220 h 1044032"/>
              <a:gd name="connsiteX5" fmla="*/ 522016 w 1043594"/>
              <a:gd name="connsiteY5" fmla="*/ 1044032 h 1044032"/>
              <a:gd name="connsiteX6" fmla="*/ 0 w 1043594"/>
              <a:gd name="connsiteY6" fmla="*/ 522016 h 1044032"/>
              <a:gd name="connsiteX7" fmla="*/ 522016 w 1043594"/>
              <a:gd name="connsiteY7" fmla="*/ 0 h 1044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43594" h="1044032">
                <a:moveTo>
                  <a:pt x="522016" y="0"/>
                </a:moveTo>
                <a:cubicBezTo>
                  <a:pt x="774279" y="0"/>
                  <a:pt x="984750" y="178938"/>
                  <a:pt x="1033427" y="416812"/>
                </a:cubicBezTo>
                <a:lnTo>
                  <a:pt x="1043594" y="517671"/>
                </a:lnTo>
                <a:lnTo>
                  <a:pt x="1043594" y="526361"/>
                </a:lnTo>
                <a:lnTo>
                  <a:pt x="1033427" y="627220"/>
                </a:lnTo>
                <a:cubicBezTo>
                  <a:pt x="984750" y="865094"/>
                  <a:pt x="774279" y="1044032"/>
                  <a:pt x="522016" y="1044032"/>
                </a:cubicBezTo>
                <a:cubicBezTo>
                  <a:pt x="233715" y="1044032"/>
                  <a:pt x="0" y="810317"/>
                  <a:pt x="0" y="522016"/>
                </a:cubicBezTo>
                <a:cubicBezTo>
                  <a:pt x="0" y="233715"/>
                  <a:pt x="233715" y="0"/>
                  <a:pt x="522016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tx2"/>
            </a:bgClr>
          </a:patt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1" name="Рисунок 30">
            <a:extLst>
              <a:ext uri="{FF2B5EF4-FFF2-40B4-BE49-F238E27FC236}">
                <a16:creationId xmlns:a16="http://schemas.microsoft.com/office/drawing/2014/main" id="{DE7AF6CA-440E-754D-A46A-00DB627F409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48631" y="2805695"/>
            <a:ext cx="864000" cy="864000"/>
          </a:xfrm>
          <a:custGeom>
            <a:avLst/>
            <a:gdLst>
              <a:gd name="connsiteX0" fmla="*/ 432000 w 864000"/>
              <a:gd name="connsiteY0" fmla="*/ 0 h 864000"/>
              <a:gd name="connsiteX1" fmla="*/ 864000 w 864000"/>
              <a:gd name="connsiteY1" fmla="*/ 432000 h 864000"/>
              <a:gd name="connsiteX2" fmla="*/ 432000 w 864000"/>
              <a:gd name="connsiteY2" fmla="*/ 864000 h 864000"/>
              <a:gd name="connsiteX3" fmla="*/ 0 w 864000"/>
              <a:gd name="connsiteY3" fmla="*/ 432000 h 864000"/>
              <a:gd name="connsiteX4" fmla="*/ 432000 w 864000"/>
              <a:gd name="connsiteY4" fmla="*/ 0 h 8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4000" h="864000">
                <a:moveTo>
                  <a:pt x="432000" y="0"/>
                </a:moveTo>
                <a:cubicBezTo>
                  <a:pt x="670587" y="0"/>
                  <a:pt x="864000" y="193413"/>
                  <a:pt x="864000" y="432000"/>
                </a:cubicBezTo>
                <a:cubicBezTo>
                  <a:pt x="864000" y="670587"/>
                  <a:pt x="670587" y="864000"/>
                  <a:pt x="432000" y="864000"/>
                </a:cubicBezTo>
                <a:cubicBezTo>
                  <a:pt x="193413" y="864000"/>
                  <a:pt x="0" y="670587"/>
                  <a:pt x="0" y="432000"/>
                </a:cubicBezTo>
                <a:cubicBezTo>
                  <a:pt x="0" y="193413"/>
                  <a:pt x="193413" y="0"/>
                  <a:pt x="432000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tx2"/>
            </a:bgClr>
          </a:patt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2" name="Рисунок 31">
            <a:extLst>
              <a:ext uri="{FF2B5EF4-FFF2-40B4-BE49-F238E27FC236}">
                <a16:creationId xmlns:a16="http://schemas.microsoft.com/office/drawing/2014/main" id="{1640AA61-74B0-C54A-937C-57C6691CE38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8737" y="4067745"/>
            <a:ext cx="864000" cy="864000"/>
          </a:xfrm>
          <a:custGeom>
            <a:avLst/>
            <a:gdLst>
              <a:gd name="connsiteX0" fmla="*/ 432000 w 864000"/>
              <a:gd name="connsiteY0" fmla="*/ 0 h 864000"/>
              <a:gd name="connsiteX1" fmla="*/ 864000 w 864000"/>
              <a:gd name="connsiteY1" fmla="*/ 432000 h 864000"/>
              <a:gd name="connsiteX2" fmla="*/ 432000 w 864000"/>
              <a:gd name="connsiteY2" fmla="*/ 864000 h 864000"/>
              <a:gd name="connsiteX3" fmla="*/ 0 w 864000"/>
              <a:gd name="connsiteY3" fmla="*/ 432000 h 864000"/>
              <a:gd name="connsiteX4" fmla="*/ 432000 w 864000"/>
              <a:gd name="connsiteY4" fmla="*/ 0 h 8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4000" h="864000">
                <a:moveTo>
                  <a:pt x="432000" y="0"/>
                </a:moveTo>
                <a:cubicBezTo>
                  <a:pt x="670587" y="0"/>
                  <a:pt x="864000" y="193413"/>
                  <a:pt x="864000" y="432000"/>
                </a:cubicBezTo>
                <a:cubicBezTo>
                  <a:pt x="864000" y="670587"/>
                  <a:pt x="670587" y="864000"/>
                  <a:pt x="432000" y="864000"/>
                </a:cubicBezTo>
                <a:cubicBezTo>
                  <a:pt x="193413" y="864000"/>
                  <a:pt x="0" y="670587"/>
                  <a:pt x="0" y="432000"/>
                </a:cubicBezTo>
                <a:cubicBezTo>
                  <a:pt x="0" y="193413"/>
                  <a:pt x="193413" y="0"/>
                  <a:pt x="432000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tx2"/>
            </a:bgClr>
          </a:patt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3" name="Рисунок 32">
            <a:extLst>
              <a:ext uri="{FF2B5EF4-FFF2-40B4-BE49-F238E27FC236}">
                <a16:creationId xmlns:a16="http://schemas.microsoft.com/office/drawing/2014/main" id="{0BA74D49-FCC2-DB4C-907F-A2EA5CBDF77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348737" y="5320547"/>
            <a:ext cx="864000" cy="864000"/>
          </a:xfrm>
          <a:custGeom>
            <a:avLst/>
            <a:gdLst>
              <a:gd name="connsiteX0" fmla="*/ 432000 w 864000"/>
              <a:gd name="connsiteY0" fmla="*/ 0 h 864000"/>
              <a:gd name="connsiteX1" fmla="*/ 864000 w 864000"/>
              <a:gd name="connsiteY1" fmla="*/ 432000 h 864000"/>
              <a:gd name="connsiteX2" fmla="*/ 432000 w 864000"/>
              <a:gd name="connsiteY2" fmla="*/ 864000 h 864000"/>
              <a:gd name="connsiteX3" fmla="*/ 0 w 864000"/>
              <a:gd name="connsiteY3" fmla="*/ 432000 h 864000"/>
              <a:gd name="connsiteX4" fmla="*/ 432000 w 864000"/>
              <a:gd name="connsiteY4" fmla="*/ 0 h 8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4000" h="864000">
                <a:moveTo>
                  <a:pt x="432000" y="0"/>
                </a:moveTo>
                <a:cubicBezTo>
                  <a:pt x="670587" y="0"/>
                  <a:pt x="864000" y="193413"/>
                  <a:pt x="864000" y="432000"/>
                </a:cubicBezTo>
                <a:cubicBezTo>
                  <a:pt x="864000" y="670587"/>
                  <a:pt x="670587" y="864000"/>
                  <a:pt x="432000" y="864000"/>
                </a:cubicBezTo>
                <a:cubicBezTo>
                  <a:pt x="193413" y="864000"/>
                  <a:pt x="0" y="670587"/>
                  <a:pt x="0" y="432000"/>
                </a:cubicBezTo>
                <a:cubicBezTo>
                  <a:pt x="0" y="193413"/>
                  <a:pt x="193413" y="0"/>
                  <a:pt x="432000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tx2"/>
            </a:bgClr>
          </a:patt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4" name="Рисунок 33">
            <a:extLst>
              <a:ext uri="{FF2B5EF4-FFF2-40B4-BE49-F238E27FC236}">
                <a16:creationId xmlns:a16="http://schemas.microsoft.com/office/drawing/2014/main" id="{71660805-58EB-2C40-8273-BDB668E9E46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903336" y="2807508"/>
            <a:ext cx="861873" cy="864000"/>
          </a:xfrm>
          <a:custGeom>
            <a:avLst/>
            <a:gdLst>
              <a:gd name="connsiteX0" fmla="*/ 429873 w 861873"/>
              <a:gd name="connsiteY0" fmla="*/ 0 h 864000"/>
              <a:gd name="connsiteX1" fmla="*/ 861873 w 861873"/>
              <a:gd name="connsiteY1" fmla="*/ 432000 h 864000"/>
              <a:gd name="connsiteX2" fmla="*/ 429873 w 861873"/>
              <a:gd name="connsiteY2" fmla="*/ 864000 h 864000"/>
              <a:gd name="connsiteX3" fmla="*/ 6650 w 861873"/>
              <a:gd name="connsiteY3" fmla="*/ 519063 h 864000"/>
              <a:gd name="connsiteX4" fmla="*/ 0 w 861873"/>
              <a:gd name="connsiteY4" fmla="*/ 453100 h 864000"/>
              <a:gd name="connsiteX5" fmla="*/ 0 w 861873"/>
              <a:gd name="connsiteY5" fmla="*/ 410901 h 864000"/>
              <a:gd name="connsiteX6" fmla="*/ 6650 w 861873"/>
              <a:gd name="connsiteY6" fmla="*/ 344937 h 864000"/>
              <a:gd name="connsiteX7" fmla="*/ 429873 w 861873"/>
              <a:gd name="connsiteY7" fmla="*/ 0 h 8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1873" h="864000">
                <a:moveTo>
                  <a:pt x="429873" y="0"/>
                </a:moveTo>
                <a:cubicBezTo>
                  <a:pt x="668460" y="0"/>
                  <a:pt x="861873" y="193413"/>
                  <a:pt x="861873" y="432000"/>
                </a:cubicBezTo>
                <a:cubicBezTo>
                  <a:pt x="861873" y="670587"/>
                  <a:pt x="668460" y="864000"/>
                  <a:pt x="429873" y="864000"/>
                </a:cubicBezTo>
                <a:cubicBezTo>
                  <a:pt x="221109" y="864000"/>
                  <a:pt x="46932" y="715918"/>
                  <a:pt x="6650" y="519063"/>
                </a:cubicBezTo>
                <a:lnTo>
                  <a:pt x="0" y="453100"/>
                </a:lnTo>
                <a:lnTo>
                  <a:pt x="0" y="410901"/>
                </a:lnTo>
                <a:lnTo>
                  <a:pt x="6650" y="344937"/>
                </a:lnTo>
                <a:cubicBezTo>
                  <a:pt x="46932" y="148082"/>
                  <a:pt x="221109" y="0"/>
                  <a:pt x="429873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tx2"/>
            </a:bgClr>
          </a:patt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5" name="Рисунок 34">
            <a:extLst>
              <a:ext uri="{FF2B5EF4-FFF2-40B4-BE49-F238E27FC236}">
                <a16:creationId xmlns:a16="http://schemas.microsoft.com/office/drawing/2014/main" id="{1A0F98E5-FB9C-1343-A3E9-0250D47CAC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903336" y="4067745"/>
            <a:ext cx="861873" cy="864000"/>
          </a:xfrm>
          <a:custGeom>
            <a:avLst/>
            <a:gdLst>
              <a:gd name="connsiteX0" fmla="*/ 429873 w 861873"/>
              <a:gd name="connsiteY0" fmla="*/ 0 h 864000"/>
              <a:gd name="connsiteX1" fmla="*/ 861873 w 861873"/>
              <a:gd name="connsiteY1" fmla="*/ 432000 h 864000"/>
              <a:gd name="connsiteX2" fmla="*/ 429873 w 861873"/>
              <a:gd name="connsiteY2" fmla="*/ 864000 h 864000"/>
              <a:gd name="connsiteX3" fmla="*/ 6650 w 861873"/>
              <a:gd name="connsiteY3" fmla="*/ 519063 h 864000"/>
              <a:gd name="connsiteX4" fmla="*/ 0 w 861873"/>
              <a:gd name="connsiteY4" fmla="*/ 453100 h 864000"/>
              <a:gd name="connsiteX5" fmla="*/ 0 w 861873"/>
              <a:gd name="connsiteY5" fmla="*/ 410901 h 864000"/>
              <a:gd name="connsiteX6" fmla="*/ 6650 w 861873"/>
              <a:gd name="connsiteY6" fmla="*/ 344937 h 864000"/>
              <a:gd name="connsiteX7" fmla="*/ 429873 w 861873"/>
              <a:gd name="connsiteY7" fmla="*/ 0 h 8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1873" h="864000">
                <a:moveTo>
                  <a:pt x="429873" y="0"/>
                </a:moveTo>
                <a:cubicBezTo>
                  <a:pt x="668460" y="0"/>
                  <a:pt x="861873" y="193413"/>
                  <a:pt x="861873" y="432000"/>
                </a:cubicBezTo>
                <a:cubicBezTo>
                  <a:pt x="861873" y="670587"/>
                  <a:pt x="668460" y="864000"/>
                  <a:pt x="429873" y="864000"/>
                </a:cubicBezTo>
                <a:cubicBezTo>
                  <a:pt x="221109" y="864000"/>
                  <a:pt x="46932" y="715918"/>
                  <a:pt x="6650" y="519063"/>
                </a:cubicBezTo>
                <a:lnTo>
                  <a:pt x="0" y="453100"/>
                </a:lnTo>
                <a:lnTo>
                  <a:pt x="0" y="410901"/>
                </a:lnTo>
                <a:lnTo>
                  <a:pt x="6650" y="344937"/>
                </a:lnTo>
                <a:cubicBezTo>
                  <a:pt x="46932" y="148082"/>
                  <a:pt x="221109" y="0"/>
                  <a:pt x="429873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tx2"/>
            </a:bgClr>
          </a:patt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6" name="Рисунок 35">
            <a:extLst>
              <a:ext uri="{FF2B5EF4-FFF2-40B4-BE49-F238E27FC236}">
                <a16:creationId xmlns:a16="http://schemas.microsoft.com/office/drawing/2014/main" id="{D087A755-A929-9343-85FB-E9EB53771B4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903336" y="5327981"/>
            <a:ext cx="861873" cy="863514"/>
          </a:xfrm>
          <a:custGeom>
            <a:avLst/>
            <a:gdLst>
              <a:gd name="connsiteX0" fmla="*/ 429873 w 861873"/>
              <a:gd name="connsiteY0" fmla="*/ 0 h 863514"/>
              <a:gd name="connsiteX1" fmla="*/ 861873 w 861873"/>
              <a:gd name="connsiteY1" fmla="*/ 432000 h 863514"/>
              <a:gd name="connsiteX2" fmla="*/ 516936 w 861873"/>
              <a:gd name="connsiteY2" fmla="*/ 855224 h 863514"/>
              <a:gd name="connsiteX3" fmla="*/ 434694 w 861873"/>
              <a:gd name="connsiteY3" fmla="*/ 863514 h 863514"/>
              <a:gd name="connsiteX4" fmla="*/ 425052 w 861873"/>
              <a:gd name="connsiteY4" fmla="*/ 863514 h 863514"/>
              <a:gd name="connsiteX5" fmla="*/ 342810 w 861873"/>
              <a:gd name="connsiteY5" fmla="*/ 855224 h 863514"/>
              <a:gd name="connsiteX6" fmla="*/ 6650 w 861873"/>
              <a:gd name="connsiteY6" fmla="*/ 519063 h 863514"/>
              <a:gd name="connsiteX7" fmla="*/ 0 w 861873"/>
              <a:gd name="connsiteY7" fmla="*/ 453100 h 863514"/>
              <a:gd name="connsiteX8" fmla="*/ 0 w 861873"/>
              <a:gd name="connsiteY8" fmla="*/ 410901 h 863514"/>
              <a:gd name="connsiteX9" fmla="*/ 6650 w 861873"/>
              <a:gd name="connsiteY9" fmla="*/ 344937 h 863514"/>
              <a:gd name="connsiteX10" fmla="*/ 429873 w 861873"/>
              <a:gd name="connsiteY10" fmla="*/ 0 h 86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61873" h="863514">
                <a:moveTo>
                  <a:pt x="429873" y="0"/>
                </a:moveTo>
                <a:cubicBezTo>
                  <a:pt x="668460" y="0"/>
                  <a:pt x="861873" y="193413"/>
                  <a:pt x="861873" y="432000"/>
                </a:cubicBezTo>
                <a:cubicBezTo>
                  <a:pt x="861873" y="640764"/>
                  <a:pt x="713791" y="814941"/>
                  <a:pt x="516936" y="855224"/>
                </a:cubicBezTo>
                <a:lnTo>
                  <a:pt x="434694" y="863514"/>
                </a:lnTo>
                <a:lnTo>
                  <a:pt x="425052" y="863514"/>
                </a:lnTo>
                <a:lnTo>
                  <a:pt x="342810" y="855224"/>
                </a:lnTo>
                <a:cubicBezTo>
                  <a:pt x="174077" y="820696"/>
                  <a:pt x="41177" y="687796"/>
                  <a:pt x="6650" y="519063"/>
                </a:cubicBezTo>
                <a:lnTo>
                  <a:pt x="0" y="453100"/>
                </a:lnTo>
                <a:lnTo>
                  <a:pt x="0" y="410901"/>
                </a:lnTo>
                <a:lnTo>
                  <a:pt x="6650" y="344937"/>
                </a:lnTo>
                <a:cubicBezTo>
                  <a:pt x="46932" y="148082"/>
                  <a:pt x="221109" y="0"/>
                  <a:pt x="429873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tx2"/>
            </a:bgClr>
          </a:patt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18" name="Текст 2">
            <a:extLst>
              <a:ext uri="{FF2B5EF4-FFF2-40B4-BE49-F238E27FC236}">
                <a16:creationId xmlns:a16="http://schemas.microsoft.com/office/drawing/2014/main" id="{E492AB29-2020-7347-B966-39F990C5D8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79A07554-3F3B-B24C-9109-95B9763A158E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0E3A3ADD-0E6F-244C-A69A-1F1932889FE8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23524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Цитата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>
            <a:extLst>
              <a:ext uri="{FF2B5EF4-FFF2-40B4-BE49-F238E27FC236}">
                <a16:creationId xmlns:a16="http://schemas.microsoft.com/office/drawing/2014/main" id="{EC51E87E-2D93-5244-A7F8-5FDEFE685618}"/>
              </a:ext>
            </a:extLst>
          </p:cNvPr>
          <p:cNvSpPr txBox="1"/>
          <p:nvPr userDrawn="1"/>
        </p:nvSpPr>
        <p:spPr>
          <a:xfrm>
            <a:off x="5863992" y="-137333"/>
            <a:ext cx="2135200" cy="769441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>
              <a:spcAft>
                <a:spcPts val="300"/>
              </a:spcAft>
              <a:buClr>
                <a:schemeClr val="accent1"/>
              </a:buClr>
            </a:pPr>
            <a:r>
              <a:rPr lang="en-US" sz="50000" dirty="0">
                <a:gradFill flip="none" rotWithShape="1">
                  <a:gsLst>
                    <a:gs pos="0">
                      <a:schemeClr val="accent1"/>
                    </a:gs>
                    <a:gs pos="40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j-lt"/>
                <a:ea typeface="Euclid Circular A" panose="020B0504000000000000" pitchFamily="34" charset="-52"/>
              </a:rPr>
              <a:t>“</a:t>
            </a:r>
            <a:endParaRPr lang="ru-RU" sz="50000" dirty="0">
              <a:gradFill flip="none" rotWithShape="1">
                <a:gsLst>
                  <a:gs pos="0">
                    <a:schemeClr val="accent1"/>
                  </a:gs>
                  <a:gs pos="40000">
                    <a:schemeClr val="accent1">
                      <a:alpha val="0"/>
                    </a:schemeClr>
                  </a:gs>
                </a:gsLst>
                <a:lin ang="5400000" scaled="1"/>
                <a:tileRect/>
              </a:gradFill>
              <a:latin typeface="+mj-lt"/>
              <a:ea typeface="Euclid Circular A" panose="020B0504000000000000" pitchFamily="34" charset="-52"/>
            </a:endParaRP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9845C5A2-39F0-4542-BFDF-637D329774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23434" y="2415024"/>
            <a:ext cx="5265291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Текст цитаты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D06CD585-9E8B-2D4B-8F76-AD0D8330C1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14689" y="5480597"/>
            <a:ext cx="457403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Имя автора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A89C4C35-A416-794B-82BF-B34423D82E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39" name="Полилиния 38">
            <a:extLst>
              <a:ext uri="{FF2B5EF4-FFF2-40B4-BE49-F238E27FC236}">
                <a16:creationId xmlns:a16="http://schemas.microsoft.com/office/drawing/2014/main" id="{D753E924-0C91-EC45-BBDB-3E7F8622C4B1}"/>
              </a:ext>
            </a:extLst>
          </p:cNvPr>
          <p:cNvSpPr/>
          <p:nvPr userDrawn="1"/>
        </p:nvSpPr>
        <p:spPr>
          <a:xfrm>
            <a:off x="751078" y="5831748"/>
            <a:ext cx="3838765" cy="1026252"/>
          </a:xfrm>
          <a:custGeom>
            <a:avLst/>
            <a:gdLst>
              <a:gd name="connsiteX0" fmla="*/ 198327 w 3838765"/>
              <a:gd name="connsiteY0" fmla="*/ 0 h 1026252"/>
              <a:gd name="connsiteX1" fmla="*/ 3640438 w 3838765"/>
              <a:gd name="connsiteY1" fmla="*/ 0 h 1026252"/>
              <a:gd name="connsiteX2" fmla="*/ 3838765 w 3838765"/>
              <a:gd name="connsiteY2" fmla="*/ 198327 h 1026252"/>
              <a:gd name="connsiteX3" fmla="*/ 3838765 w 3838765"/>
              <a:gd name="connsiteY3" fmla="*/ 1026252 h 1026252"/>
              <a:gd name="connsiteX4" fmla="*/ 0 w 3838765"/>
              <a:gd name="connsiteY4" fmla="*/ 1026252 h 1026252"/>
              <a:gd name="connsiteX5" fmla="*/ 0 w 3838765"/>
              <a:gd name="connsiteY5" fmla="*/ 198327 h 1026252"/>
              <a:gd name="connsiteX6" fmla="*/ 198327 w 3838765"/>
              <a:gd name="connsiteY6" fmla="*/ 0 h 1026252"/>
              <a:gd name="connsiteX0" fmla="*/ 0 w 3838765"/>
              <a:gd name="connsiteY0" fmla="*/ 1026252 h 1117692"/>
              <a:gd name="connsiteX1" fmla="*/ 0 w 3838765"/>
              <a:gd name="connsiteY1" fmla="*/ 198327 h 1117692"/>
              <a:gd name="connsiteX2" fmla="*/ 198327 w 3838765"/>
              <a:gd name="connsiteY2" fmla="*/ 0 h 1117692"/>
              <a:gd name="connsiteX3" fmla="*/ 3640438 w 3838765"/>
              <a:gd name="connsiteY3" fmla="*/ 0 h 1117692"/>
              <a:gd name="connsiteX4" fmla="*/ 3838765 w 3838765"/>
              <a:gd name="connsiteY4" fmla="*/ 198327 h 1117692"/>
              <a:gd name="connsiteX5" fmla="*/ 3838765 w 3838765"/>
              <a:gd name="connsiteY5" fmla="*/ 1026252 h 1117692"/>
              <a:gd name="connsiteX6" fmla="*/ 91440 w 3838765"/>
              <a:gd name="connsiteY6" fmla="*/ 1117692 h 1117692"/>
              <a:gd name="connsiteX0" fmla="*/ 0 w 3838765"/>
              <a:gd name="connsiteY0" fmla="*/ 1026252 h 2151361"/>
              <a:gd name="connsiteX1" fmla="*/ 0 w 3838765"/>
              <a:gd name="connsiteY1" fmla="*/ 198327 h 2151361"/>
              <a:gd name="connsiteX2" fmla="*/ 198327 w 3838765"/>
              <a:gd name="connsiteY2" fmla="*/ 0 h 2151361"/>
              <a:gd name="connsiteX3" fmla="*/ 3640438 w 3838765"/>
              <a:gd name="connsiteY3" fmla="*/ 0 h 2151361"/>
              <a:gd name="connsiteX4" fmla="*/ 3838765 w 3838765"/>
              <a:gd name="connsiteY4" fmla="*/ 198327 h 2151361"/>
              <a:gd name="connsiteX5" fmla="*/ 3838765 w 3838765"/>
              <a:gd name="connsiteY5" fmla="*/ 1026252 h 2151361"/>
              <a:gd name="connsiteX6" fmla="*/ 767301 w 3838765"/>
              <a:gd name="connsiteY6" fmla="*/ 2151361 h 2151361"/>
              <a:gd name="connsiteX0" fmla="*/ 0 w 3838765"/>
              <a:gd name="connsiteY0" fmla="*/ 1026252 h 1026252"/>
              <a:gd name="connsiteX1" fmla="*/ 0 w 3838765"/>
              <a:gd name="connsiteY1" fmla="*/ 198327 h 1026252"/>
              <a:gd name="connsiteX2" fmla="*/ 198327 w 3838765"/>
              <a:gd name="connsiteY2" fmla="*/ 0 h 1026252"/>
              <a:gd name="connsiteX3" fmla="*/ 3640438 w 3838765"/>
              <a:gd name="connsiteY3" fmla="*/ 0 h 1026252"/>
              <a:gd name="connsiteX4" fmla="*/ 3838765 w 3838765"/>
              <a:gd name="connsiteY4" fmla="*/ 198327 h 1026252"/>
              <a:gd name="connsiteX5" fmla="*/ 3838765 w 3838765"/>
              <a:gd name="connsiteY5" fmla="*/ 1026252 h 102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8765" h="1026252">
                <a:moveTo>
                  <a:pt x="0" y="1026252"/>
                </a:moveTo>
                <a:lnTo>
                  <a:pt x="0" y="198327"/>
                </a:lnTo>
                <a:cubicBezTo>
                  <a:pt x="0" y="88794"/>
                  <a:pt x="88794" y="0"/>
                  <a:pt x="198327" y="0"/>
                </a:cubicBezTo>
                <a:lnTo>
                  <a:pt x="3640438" y="0"/>
                </a:lnTo>
                <a:cubicBezTo>
                  <a:pt x="3749971" y="0"/>
                  <a:pt x="3838765" y="88794"/>
                  <a:pt x="3838765" y="198327"/>
                </a:cubicBezTo>
                <a:lnTo>
                  <a:pt x="3838765" y="1026252"/>
                </a:lnTo>
              </a:path>
            </a:pathLst>
          </a:custGeom>
          <a:noFill/>
          <a:ln w="1270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41" name="Полилиния 40">
            <a:extLst>
              <a:ext uri="{FF2B5EF4-FFF2-40B4-BE49-F238E27FC236}">
                <a16:creationId xmlns:a16="http://schemas.microsoft.com/office/drawing/2014/main" id="{99D7870C-E20D-BF42-9DEF-AD82A5016BDD}"/>
              </a:ext>
            </a:extLst>
          </p:cNvPr>
          <p:cNvSpPr/>
          <p:nvPr userDrawn="1"/>
        </p:nvSpPr>
        <p:spPr>
          <a:xfrm rot="10800000">
            <a:off x="751078" y="-39088"/>
            <a:ext cx="3838765" cy="1026252"/>
          </a:xfrm>
          <a:custGeom>
            <a:avLst/>
            <a:gdLst>
              <a:gd name="connsiteX0" fmla="*/ 198327 w 3838765"/>
              <a:gd name="connsiteY0" fmla="*/ 0 h 1026252"/>
              <a:gd name="connsiteX1" fmla="*/ 3640438 w 3838765"/>
              <a:gd name="connsiteY1" fmla="*/ 0 h 1026252"/>
              <a:gd name="connsiteX2" fmla="*/ 3838765 w 3838765"/>
              <a:gd name="connsiteY2" fmla="*/ 198327 h 1026252"/>
              <a:gd name="connsiteX3" fmla="*/ 3838765 w 3838765"/>
              <a:gd name="connsiteY3" fmla="*/ 1026252 h 1026252"/>
              <a:gd name="connsiteX4" fmla="*/ 0 w 3838765"/>
              <a:gd name="connsiteY4" fmla="*/ 1026252 h 1026252"/>
              <a:gd name="connsiteX5" fmla="*/ 0 w 3838765"/>
              <a:gd name="connsiteY5" fmla="*/ 198327 h 1026252"/>
              <a:gd name="connsiteX6" fmla="*/ 198327 w 3838765"/>
              <a:gd name="connsiteY6" fmla="*/ 0 h 1026252"/>
              <a:gd name="connsiteX0" fmla="*/ 0 w 3838765"/>
              <a:gd name="connsiteY0" fmla="*/ 1026252 h 1117692"/>
              <a:gd name="connsiteX1" fmla="*/ 0 w 3838765"/>
              <a:gd name="connsiteY1" fmla="*/ 198327 h 1117692"/>
              <a:gd name="connsiteX2" fmla="*/ 198327 w 3838765"/>
              <a:gd name="connsiteY2" fmla="*/ 0 h 1117692"/>
              <a:gd name="connsiteX3" fmla="*/ 3640438 w 3838765"/>
              <a:gd name="connsiteY3" fmla="*/ 0 h 1117692"/>
              <a:gd name="connsiteX4" fmla="*/ 3838765 w 3838765"/>
              <a:gd name="connsiteY4" fmla="*/ 198327 h 1117692"/>
              <a:gd name="connsiteX5" fmla="*/ 3838765 w 3838765"/>
              <a:gd name="connsiteY5" fmla="*/ 1026252 h 1117692"/>
              <a:gd name="connsiteX6" fmla="*/ 91440 w 3838765"/>
              <a:gd name="connsiteY6" fmla="*/ 1117692 h 1117692"/>
              <a:gd name="connsiteX0" fmla="*/ 0 w 3838765"/>
              <a:gd name="connsiteY0" fmla="*/ 1026252 h 2151361"/>
              <a:gd name="connsiteX1" fmla="*/ 0 w 3838765"/>
              <a:gd name="connsiteY1" fmla="*/ 198327 h 2151361"/>
              <a:gd name="connsiteX2" fmla="*/ 198327 w 3838765"/>
              <a:gd name="connsiteY2" fmla="*/ 0 h 2151361"/>
              <a:gd name="connsiteX3" fmla="*/ 3640438 w 3838765"/>
              <a:gd name="connsiteY3" fmla="*/ 0 h 2151361"/>
              <a:gd name="connsiteX4" fmla="*/ 3838765 w 3838765"/>
              <a:gd name="connsiteY4" fmla="*/ 198327 h 2151361"/>
              <a:gd name="connsiteX5" fmla="*/ 3838765 w 3838765"/>
              <a:gd name="connsiteY5" fmla="*/ 1026252 h 2151361"/>
              <a:gd name="connsiteX6" fmla="*/ 767301 w 3838765"/>
              <a:gd name="connsiteY6" fmla="*/ 2151361 h 2151361"/>
              <a:gd name="connsiteX0" fmla="*/ 0 w 3838765"/>
              <a:gd name="connsiteY0" fmla="*/ 1026252 h 1026252"/>
              <a:gd name="connsiteX1" fmla="*/ 0 w 3838765"/>
              <a:gd name="connsiteY1" fmla="*/ 198327 h 1026252"/>
              <a:gd name="connsiteX2" fmla="*/ 198327 w 3838765"/>
              <a:gd name="connsiteY2" fmla="*/ 0 h 1026252"/>
              <a:gd name="connsiteX3" fmla="*/ 3640438 w 3838765"/>
              <a:gd name="connsiteY3" fmla="*/ 0 h 1026252"/>
              <a:gd name="connsiteX4" fmla="*/ 3838765 w 3838765"/>
              <a:gd name="connsiteY4" fmla="*/ 198327 h 1026252"/>
              <a:gd name="connsiteX5" fmla="*/ 3838765 w 3838765"/>
              <a:gd name="connsiteY5" fmla="*/ 1026252 h 102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8765" h="1026252">
                <a:moveTo>
                  <a:pt x="0" y="1026252"/>
                </a:moveTo>
                <a:lnTo>
                  <a:pt x="0" y="198327"/>
                </a:lnTo>
                <a:cubicBezTo>
                  <a:pt x="0" y="88794"/>
                  <a:pt x="88794" y="0"/>
                  <a:pt x="198327" y="0"/>
                </a:cubicBezTo>
                <a:lnTo>
                  <a:pt x="3640438" y="0"/>
                </a:lnTo>
                <a:cubicBezTo>
                  <a:pt x="3749971" y="0"/>
                  <a:pt x="3838765" y="88794"/>
                  <a:pt x="3838765" y="198327"/>
                </a:cubicBezTo>
                <a:lnTo>
                  <a:pt x="3838765" y="1026252"/>
                </a:lnTo>
              </a:path>
            </a:pathLst>
          </a:custGeom>
          <a:noFill/>
          <a:ln w="1270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15" name="Полилиния 14">
            <a:extLst>
              <a:ext uri="{FF2B5EF4-FFF2-40B4-BE49-F238E27FC236}">
                <a16:creationId xmlns:a16="http://schemas.microsoft.com/office/drawing/2014/main" id="{69BD7D03-2950-CC4A-998C-16108B1731F8}"/>
              </a:ext>
            </a:extLst>
          </p:cNvPr>
          <p:cNvSpPr>
            <a:spLocks noChangeAspect="1"/>
          </p:cNvSpPr>
          <p:nvPr userDrawn="1"/>
        </p:nvSpPr>
        <p:spPr>
          <a:xfrm>
            <a:off x="695464" y="1434460"/>
            <a:ext cx="3960000" cy="3960000"/>
          </a:xfrm>
          <a:custGeom>
            <a:avLst/>
            <a:gdLst>
              <a:gd name="connsiteX0" fmla="*/ 227564 w 3960000"/>
              <a:gd name="connsiteY0" fmla="*/ 125192 h 3960000"/>
              <a:gd name="connsiteX1" fmla="*/ 120996 w 3960000"/>
              <a:gd name="connsiteY1" fmla="*/ 231760 h 3960000"/>
              <a:gd name="connsiteX2" fmla="*/ 120996 w 3960000"/>
              <a:gd name="connsiteY2" fmla="*/ 3726624 h 3960000"/>
              <a:gd name="connsiteX3" fmla="*/ 227564 w 3960000"/>
              <a:gd name="connsiteY3" fmla="*/ 3833192 h 3960000"/>
              <a:gd name="connsiteX4" fmla="*/ 3722428 w 3960000"/>
              <a:gd name="connsiteY4" fmla="*/ 3833192 h 3960000"/>
              <a:gd name="connsiteX5" fmla="*/ 3828996 w 3960000"/>
              <a:gd name="connsiteY5" fmla="*/ 3726624 h 3960000"/>
              <a:gd name="connsiteX6" fmla="*/ 3828996 w 3960000"/>
              <a:gd name="connsiteY6" fmla="*/ 231760 h 3960000"/>
              <a:gd name="connsiteX7" fmla="*/ 3722428 w 3960000"/>
              <a:gd name="connsiteY7" fmla="*/ 125192 h 3960000"/>
              <a:gd name="connsiteX8" fmla="*/ 237798 w 3960000"/>
              <a:gd name="connsiteY8" fmla="*/ 0 h 3960000"/>
              <a:gd name="connsiteX9" fmla="*/ 3722202 w 3960000"/>
              <a:gd name="connsiteY9" fmla="*/ 0 h 3960000"/>
              <a:gd name="connsiteX10" fmla="*/ 3960000 w 3960000"/>
              <a:gd name="connsiteY10" fmla="*/ 237798 h 3960000"/>
              <a:gd name="connsiteX11" fmla="*/ 3960000 w 3960000"/>
              <a:gd name="connsiteY11" fmla="*/ 3722202 h 3960000"/>
              <a:gd name="connsiteX12" fmla="*/ 3722202 w 3960000"/>
              <a:gd name="connsiteY12" fmla="*/ 3960000 h 3960000"/>
              <a:gd name="connsiteX13" fmla="*/ 237798 w 3960000"/>
              <a:gd name="connsiteY13" fmla="*/ 3960000 h 3960000"/>
              <a:gd name="connsiteX14" fmla="*/ 0 w 3960000"/>
              <a:gd name="connsiteY14" fmla="*/ 3722202 h 3960000"/>
              <a:gd name="connsiteX15" fmla="*/ 0 w 3960000"/>
              <a:gd name="connsiteY15" fmla="*/ 237798 h 3960000"/>
              <a:gd name="connsiteX16" fmla="*/ 237798 w 3960000"/>
              <a:gd name="connsiteY16" fmla="*/ 0 h 39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960000" h="3960000">
                <a:moveTo>
                  <a:pt x="227564" y="125192"/>
                </a:moveTo>
                <a:cubicBezTo>
                  <a:pt x="168708" y="125192"/>
                  <a:pt x="120996" y="172904"/>
                  <a:pt x="120996" y="231760"/>
                </a:cubicBezTo>
                <a:lnTo>
                  <a:pt x="120996" y="3726624"/>
                </a:lnTo>
                <a:cubicBezTo>
                  <a:pt x="120996" y="3785480"/>
                  <a:pt x="168708" y="3833192"/>
                  <a:pt x="227564" y="3833192"/>
                </a:cubicBezTo>
                <a:lnTo>
                  <a:pt x="3722428" y="3833192"/>
                </a:lnTo>
                <a:cubicBezTo>
                  <a:pt x="3781284" y="3833192"/>
                  <a:pt x="3828996" y="3785480"/>
                  <a:pt x="3828996" y="3726624"/>
                </a:cubicBezTo>
                <a:lnTo>
                  <a:pt x="3828996" y="231760"/>
                </a:lnTo>
                <a:cubicBezTo>
                  <a:pt x="3828996" y="172904"/>
                  <a:pt x="3781284" y="125192"/>
                  <a:pt x="3722428" y="125192"/>
                </a:cubicBezTo>
                <a:close/>
                <a:moveTo>
                  <a:pt x="237798" y="0"/>
                </a:moveTo>
                <a:lnTo>
                  <a:pt x="3722202" y="0"/>
                </a:lnTo>
                <a:cubicBezTo>
                  <a:pt x="3853534" y="0"/>
                  <a:pt x="3960000" y="106466"/>
                  <a:pt x="3960000" y="237798"/>
                </a:cubicBezTo>
                <a:lnTo>
                  <a:pt x="3960000" y="3722202"/>
                </a:lnTo>
                <a:cubicBezTo>
                  <a:pt x="3960000" y="3853534"/>
                  <a:pt x="3853534" y="3960000"/>
                  <a:pt x="3722202" y="3960000"/>
                </a:cubicBezTo>
                <a:lnTo>
                  <a:pt x="237798" y="3960000"/>
                </a:lnTo>
                <a:cubicBezTo>
                  <a:pt x="106466" y="3960000"/>
                  <a:pt x="0" y="3853534"/>
                  <a:pt x="0" y="3722202"/>
                </a:cubicBezTo>
                <a:lnTo>
                  <a:pt x="0" y="237798"/>
                </a:lnTo>
                <a:cubicBezTo>
                  <a:pt x="0" y="106466"/>
                  <a:pt x="106466" y="0"/>
                  <a:pt x="23779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BC574F1F-2388-C741-9BD5-20AF6B59C4D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2464" y="1551460"/>
            <a:ext cx="3726000" cy="3726000"/>
          </a:xfrm>
          <a:custGeom>
            <a:avLst/>
            <a:gdLst>
              <a:gd name="connsiteX0" fmla="*/ 106568 w 3707674"/>
              <a:gd name="connsiteY0" fmla="*/ 0 h 3708000"/>
              <a:gd name="connsiteX1" fmla="*/ 3601432 w 3707674"/>
              <a:gd name="connsiteY1" fmla="*/ 0 h 3708000"/>
              <a:gd name="connsiteX2" fmla="*/ 3699626 w 3707674"/>
              <a:gd name="connsiteY2" fmla="*/ 65087 h 3708000"/>
              <a:gd name="connsiteX3" fmla="*/ 3707674 w 3707674"/>
              <a:gd name="connsiteY3" fmla="*/ 104953 h 3708000"/>
              <a:gd name="connsiteX4" fmla="*/ 3707674 w 3707674"/>
              <a:gd name="connsiteY4" fmla="*/ 3603047 h 3708000"/>
              <a:gd name="connsiteX5" fmla="*/ 3699626 w 3707674"/>
              <a:gd name="connsiteY5" fmla="*/ 3642913 h 3708000"/>
              <a:gd name="connsiteX6" fmla="*/ 3601432 w 3707674"/>
              <a:gd name="connsiteY6" fmla="*/ 3708000 h 3708000"/>
              <a:gd name="connsiteX7" fmla="*/ 106568 w 3707674"/>
              <a:gd name="connsiteY7" fmla="*/ 3708000 h 3708000"/>
              <a:gd name="connsiteX8" fmla="*/ 0 w 3707674"/>
              <a:gd name="connsiteY8" fmla="*/ 3601432 h 3708000"/>
              <a:gd name="connsiteX9" fmla="*/ 0 w 3707674"/>
              <a:gd name="connsiteY9" fmla="*/ 106568 h 3708000"/>
              <a:gd name="connsiteX10" fmla="*/ 106568 w 3707674"/>
              <a:gd name="connsiteY10" fmla="*/ 0 h 37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707674" h="3708000">
                <a:moveTo>
                  <a:pt x="106568" y="0"/>
                </a:moveTo>
                <a:lnTo>
                  <a:pt x="3601432" y="0"/>
                </a:lnTo>
                <a:cubicBezTo>
                  <a:pt x="3645574" y="0"/>
                  <a:pt x="3683448" y="26838"/>
                  <a:pt x="3699626" y="65087"/>
                </a:cubicBezTo>
                <a:lnTo>
                  <a:pt x="3707674" y="104953"/>
                </a:lnTo>
                <a:lnTo>
                  <a:pt x="3707674" y="3603047"/>
                </a:lnTo>
                <a:lnTo>
                  <a:pt x="3699626" y="3642913"/>
                </a:lnTo>
                <a:cubicBezTo>
                  <a:pt x="3683448" y="3681162"/>
                  <a:pt x="3645574" y="3708000"/>
                  <a:pt x="3601432" y="3708000"/>
                </a:cubicBezTo>
                <a:lnTo>
                  <a:pt x="106568" y="3708000"/>
                </a:lnTo>
                <a:cubicBezTo>
                  <a:pt x="47712" y="3708000"/>
                  <a:pt x="0" y="3660288"/>
                  <a:pt x="0" y="3601432"/>
                </a:cubicBezTo>
                <a:lnTo>
                  <a:pt x="0" y="106568"/>
                </a:lnTo>
                <a:cubicBezTo>
                  <a:pt x="0" y="47712"/>
                  <a:pt x="47712" y="0"/>
                  <a:pt x="106568" y="0"/>
                </a:cubicBez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31341F-A298-D34B-924A-EF384C212CC9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9D33FA7-F06B-7048-A25E-0EF6FAE23D2F}"/>
              </a:ext>
            </a:extLst>
          </p:cNvPr>
          <p:cNvSpPr/>
          <p:nvPr userDrawn="1"/>
        </p:nvSpPr>
        <p:spPr>
          <a:xfrm>
            <a:off x="7767098" y="6436622"/>
            <a:ext cx="3386177" cy="276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30380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Цитата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7">
            <a:extLst>
              <a:ext uri="{FF2B5EF4-FFF2-40B4-BE49-F238E27FC236}">
                <a16:creationId xmlns:a16="http://schemas.microsoft.com/office/drawing/2014/main" id="{A9472CAB-454B-8844-A0ED-DBC96E196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44706" y="-24063"/>
            <a:ext cx="6660000" cy="6893999"/>
          </a:xfrm>
          <a:custGeom>
            <a:avLst/>
            <a:gdLst>
              <a:gd name="connsiteX0" fmla="*/ 1316736 w 6647294"/>
              <a:gd name="connsiteY0" fmla="*/ 0 h 6858000"/>
              <a:gd name="connsiteX1" fmla="*/ 6647294 w 6647294"/>
              <a:gd name="connsiteY1" fmla="*/ 0 h 6858000"/>
              <a:gd name="connsiteX2" fmla="*/ 6647294 w 6647294"/>
              <a:gd name="connsiteY2" fmla="*/ 6858000 h 6858000"/>
              <a:gd name="connsiteX3" fmla="*/ 0 w 664729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47294" h="6858000">
                <a:moveTo>
                  <a:pt x="1316736" y="0"/>
                </a:moveTo>
                <a:lnTo>
                  <a:pt x="6647294" y="0"/>
                </a:lnTo>
                <a:lnTo>
                  <a:pt x="6647294" y="6858000"/>
                </a:lnTo>
                <a:lnTo>
                  <a:pt x="0" y="6858000"/>
                </a:ln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C51E87E-2D93-5244-A7F8-5FDEFE685618}"/>
              </a:ext>
            </a:extLst>
          </p:cNvPr>
          <p:cNvSpPr txBox="1"/>
          <p:nvPr userDrawn="1"/>
        </p:nvSpPr>
        <p:spPr>
          <a:xfrm>
            <a:off x="569261" y="-247692"/>
            <a:ext cx="2135200" cy="769441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>
              <a:spcAft>
                <a:spcPts val="300"/>
              </a:spcAft>
              <a:buClr>
                <a:schemeClr val="accent1"/>
              </a:buClr>
            </a:pPr>
            <a:r>
              <a:rPr lang="en-US" sz="50000" dirty="0">
                <a:gradFill flip="none" rotWithShape="1">
                  <a:gsLst>
                    <a:gs pos="0">
                      <a:schemeClr val="accent1"/>
                    </a:gs>
                    <a:gs pos="40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j-lt"/>
                <a:ea typeface="Euclid Circular A" panose="020B0504000000000000" pitchFamily="34" charset="-52"/>
              </a:rPr>
              <a:t>“</a:t>
            </a:r>
            <a:endParaRPr lang="ru-RU" sz="50000" dirty="0">
              <a:gradFill flip="none" rotWithShape="1">
                <a:gsLst>
                  <a:gs pos="0">
                    <a:schemeClr val="accent1"/>
                  </a:gs>
                  <a:gs pos="40000">
                    <a:schemeClr val="accent1">
                      <a:alpha val="0"/>
                    </a:schemeClr>
                  </a:gs>
                </a:gsLst>
                <a:lin ang="5400000" scaled="1"/>
                <a:tileRect/>
              </a:gradFill>
              <a:latin typeface="+mj-lt"/>
              <a:ea typeface="Euclid Circular A" panose="020B0504000000000000" pitchFamily="34" charset="-52"/>
            </a:endParaRP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9845C5A2-39F0-4542-BFDF-637D329774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8703" y="2304665"/>
            <a:ext cx="433748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8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Текст цитаты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D06CD585-9E8B-2D4B-8F76-AD0D8330C1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8703" y="5370238"/>
            <a:ext cx="359892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Имя автора</a:t>
            </a: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2F4A8EAC-0737-114F-92D4-13A346BAEE38}"/>
              </a:ext>
            </a:extLst>
          </p:cNvPr>
          <p:cNvGrpSpPr/>
          <p:nvPr userDrawn="1"/>
        </p:nvGrpSpPr>
        <p:grpSpPr>
          <a:xfrm flipH="1">
            <a:off x="5330559" y="0"/>
            <a:ext cx="1530883" cy="6858000"/>
            <a:chOff x="3649466" y="0"/>
            <a:chExt cx="1530883" cy="6858000"/>
          </a:xfrm>
        </p:grpSpPr>
        <p:sp>
          <p:nvSpPr>
            <p:cNvPr id="13" name="Параллелограмм 12">
              <a:extLst>
                <a:ext uri="{FF2B5EF4-FFF2-40B4-BE49-F238E27FC236}">
                  <a16:creationId xmlns:a16="http://schemas.microsoft.com/office/drawing/2014/main" id="{EDBB88E3-B6A0-9B44-917F-8DCECC75709D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4" name="Параллелограмм 13">
              <a:extLst>
                <a:ext uri="{FF2B5EF4-FFF2-40B4-BE49-F238E27FC236}">
                  <a16:creationId xmlns:a16="http://schemas.microsoft.com/office/drawing/2014/main" id="{5F4D88A0-CF4A-EB41-9969-2A03234AC3F3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62C845F0-6F03-EB47-A968-18B674DA71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262" y="388520"/>
            <a:ext cx="1065725" cy="35541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BD7562E-C0FE-8C46-B038-EEF67CE62FDD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80CA5781-F486-6A4D-A5C7-CBE2F6493785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tx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6FF95AA5-39E6-6741-B0B2-B1F94D28805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58568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Вопрос аудитории">
    <p:bg>
      <p:bgPr>
        <a:gradFill>
          <a:gsLst>
            <a:gs pos="95000">
              <a:schemeClr val="accent1"/>
            </a:gs>
            <a:gs pos="3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B11F5C4-C9AA-4A48-8171-7867F8EF8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9038BD53-8F25-5D40-9289-9C57CC794676}"/>
              </a:ext>
            </a:extLst>
          </p:cNvPr>
          <p:cNvSpPr txBox="1"/>
          <p:nvPr userDrawn="1"/>
        </p:nvSpPr>
        <p:spPr>
          <a:xfrm>
            <a:off x="340191" y="-392985"/>
            <a:ext cx="4493538" cy="85561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3000" b="1" dirty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</a:rPr>
              <a:t>?</a:t>
            </a:r>
            <a:endParaRPr lang="ru-RU" sz="53000" b="1" dirty="0"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alpha val="0"/>
                    </a:schemeClr>
                  </a:gs>
                </a:gsLst>
                <a:lin ang="5400000" scaled="1"/>
                <a:tileRect/>
              </a:gradFill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7E21928B-D3A1-3D41-B06A-2C5B0B51AAC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747"/>
            <a:ext cx="1065725" cy="355419"/>
          </a:xfrm>
          <a:prstGeom prst="rect">
            <a:avLst/>
          </a:prstGeom>
        </p:spPr>
      </p:pic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1854FB96-6482-7040-AEC9-31343493737F}"/>
              </a:ext>
            </a:extLst>
          </p:cNvPr>
          <p:cNvGrpSpPr/>
          <p:nvPr userDrawn="1"/>
        </p:nvGrpSpPr>
        <p:grpSpPr>
          <a:xfrm>
            <a:off x="227165" y="3801795"/>
            <a:ext cx="361110" cy="371578"/>
            <a:chOff x="383279" y="3833472"/>
            <a:chExt cx="361110" cy="371578"/>
          </a:xfrm>
        </p:grpSpPr>
        <p:sp>
          <p:nvSpPr>
            <p:cNvPr id="20" name="Нашивка 19">
              <a:extLst>
                <a:ext uri="{FF2B5EF4-FFF2-40B4-BE49-F238E27FC236}">
                  <a16:creationId xmlns:a16="http://schemas.microsoft.com/office/drawing/2014/main" id="{4505EE8C-FEC0-2C41-972F-9B231977F75A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1" name="Нашивка 20">
              <a:extLst>
                <a:ext uri="{FF2B5EF4-FFF2-40B4-BE49-F238E27FC236}">
                  <a16:creationId xmlns:a16="http://schemas.microsoft.com/office/drawing/2014/main" id="{284537A5-A020-3B46-96F7-D48FB25F2653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22" name="Текст 4">
            <a:extLst>
              <a:ext uri="{FF2B5EF4-FFF2-40B4-BE49-F238E27FC236}">
                <a16:creationId xmlns:a16="http://schemas.microsoft.com/office/drawing/2014/main" id="{D19FA497-049D-C040-99F2-FE82689E4C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3275" y="4358993"/>
            <a:ext cx="8323263" cy="1841782"/>
          </a:xfrm>
        </p:spPr>
        <p:txBody>
          <a:bodyPr lIns="0" tIns="0" rIns="0" bIns="0" anchor="t">
            <a:normAutofit/>
          </a:bodyPr>
          <a:lstStyle>
            <a:lvl1pPr marL="0" indent="0">
              <a:buFontTx/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Вопрос аудитории</a:t>
            </a:r>
          </a:p>
        </p:txBody>
      </p:sp>
      <p:sp>
        <p:nvSpPr>
          <p:cNvPr id="24" name="Текст 17">
            <a:extLst>
              <a:ext uri="{FF2B5EF4-FFF2-40B4-BE49-F238E27FC236}">
                <a16:creationId xmlns:a16="http://schemas.microsoft.com/office/drawing/2014/main" id="{50AAAD90-B1BF-E248-AE25-D0D473D138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3275" y="3620806"/>
            <a:ext cx="8323263" cy="738188"/>
          </a:xfrm>
        </p:spPr>
        <p:txBody>
          <a:bodyPr lIns="0" tIns="0" rIns="0" bIns="0" anchor="ctr">
            <a:normAutofit/>
          </a:bodyPr>
          <a:lstStyle>
            <a:lvl1pPr marL="0" indent="0">
              <a:buFontTx/>
              <a:buNone/>
              <a:defRPr sz="3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Вопрос аудитории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B0D6D61-9134-1C46-8701-29DD0B986DE3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8780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дведем итоги">
    <p:bg>
      <p:bgPr>
        <a:gradFill>
          <a:gsLst>
            <a:gs pos="95000">
              <a:schemeClr val="accent1"/>
            </a:gs>
            <a:gs pos="3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B11F5C4-C9AA-4A48-8171-7867F8EF8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A03485A6-5304-D840-B8BB-5B8A3C47D176}"/>
              </a:ext>
            </a:extLst>
          </p:cNvPr>
          <p:cNvSpPr txBox="1"/>
          <p:nvPr userDrawn="1"/>
        </p:nvSpPr>
        <p:spPr>
          <a:xfrm>
            <a:off x="9126538" y="-392985"/>
            <a:ext cx="2448106" cy="824841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53000" b="1" dirty="0">
                <a:gradFill flip="none" rotWithShape="1">
                  <a:gsLst>
                    <a:gs pos="0">
                      <a:schemeClr val="accent3"/>
                    </a:gs>
                    <a:gs pos="100000">
                      <a:schemeClr val="accent3">
                        <a:alpha val="0"/>
                      </a:schemeClr>
                    </a:gs>
                  </a:gsLst>
                  <a:lin ang="5400000" scaled="1"/>
                  <a:tileRect/>
                </a:gradFill>
              </a:rPr>
              <a:t>!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7E21928B-D3A1-3D41-B06A-2C5B0B51AAC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747"/>
            <a:ext cx="1065725" cy="355419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BB0D6D61-9134-1C46-8701-29DD0B986DE3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02C8AA36-B22B-AE43-B38E-09068C80391A}"/>
              </a:ext>
            </a:extLst>
          </p:cNvPr>
          <p:cNvGrpSpPr/>
          <p:nvPr userDrawn="1"/>
        </p:nvGrpSpPr>
        <p:grpSpPr>
          <a:xfrm>
            <a:off x="227165" y="1353092"/>
            <a:ext cx="361110" cy="371578"/>
            <a:chOff x="383279" y="3833472"/>
            <a:chExt cx="361110" cy="371578"/>
          </a:xfrm>
        </p:grpSpPr>
        <p:sp>
          <p:nvSpPr>
            <p:cNvPr id="13" name="Нашивка 12">
              <a:extLst>
                <a:ext uri="{FF2B5EF4-FFF2-40B4-BE49-F238E27FC236}">
                  <a16:creationId xmlns:a16="http://schemas.microsoft.com/office/drawing/2014/main" id="{72F3EBDB-5783-E445-AFD7-0024F7012003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E2822CAD-EADF-BF4C-8DC3-8D9F65968E4F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16" name="Текст 17">
            <a:extLst>
              <a:ext uri="{FF2B5EF4-FFF2-40B4-BE49-F238E27FC236}">
                <a16:creationId xmlns:a16="http://schemas.microsoft.com/office/drawing/2014/main" id="{EC8B8A80-E4D6-6242-B68B-0BFB25E1BC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3275" y="1319598"/>
            <a:ext cx="8323263" cy="443198"/>
          </a:xfrm>
        </p:spPr>
        <p:txBody>
          <a:bodyPr lIns="0" tIns="0" rIns="0" bIns="0" anchor="ctr">
            <a:spAutoFit/>
          </a:bodyPr>
          <a:lstStyle>
            <a:lvl1pPr marL="0" indent="0">
              <a:buFontTx/>
              <a:buNone/>
              <a:defRPr sz="3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ведем итоги</a:t>
            </a:r>
          </a:p>
        </p:txBody>
      </p:sp>
    </p:spTree>
    <p:extLst>
      <p:ext uri="{BB962C8B-B14F-4D97-AF65-F5344CB8AC3E}">
        <p14:creationId xmlns:p14="http://schemas.microsoft.com/office/powerpoint/2010/main" val="206775920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Итоги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36">
            <a:extLst>
              <a:ext uri="{FF2B5EF4-FFF2-40B4-BE49-F238E27FC236}">
                <a16:creationId xmlns:a16="http://schemas.microsoft.com/office/drawing/2014/main" id="{0FCE9F05-6FE2-0B4B-85BA-ACE7F7E8B1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275" y="1341438"/>
            <a:ext cx="4563855" cy="586753"/>
          </a:xfrm>
        </p:spPr>
        <p:txBody>
          <a:bodyPr lIns="0" tIns="0" rIns="0" bIns="0" anchor="ctr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Подведем итоги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EF590BFE-5AEA-FF4B-85C9-9B3BC7A5A0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262" y="388520"/>
            <a:ext cx="1065725" cy="355419"/>
          </a:xfrm>
          <a:prstGeom prst="rect">
            <a:avLst/>
          </a:prstGeom>
        </p:spPr>
      </p:pic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538496A8-4DDD-5D49-AF00-B119ACDF1B78}"/>
              </a:ext>
            </a:extLst>
          </p:cNvPr>
          <p:cNvGrpSpPr/>
          <p:nvPr userDrawn="1"/>
        </p:nvGrpSpPr>
        <p:grpSpPr>
          <a:xfrm>
            <a:off x="5436180" y="0"/>
            <a:ext cx="1127505" cy="6876000"/>
            <a:chOff x="3945699" y="0"/>
            <a:chExt cx="1127505" cy="6876000"/>
          </a:xfrm>
        </p:grpSpPr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219D801F-658D-204E-B018-D201391544A4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5" name="Нашивка 14">
              <a:extLst>
                <a:ext uri="{FF2B5EF4-FFF2-40B4-BE49-F238E27FC236}">
                  <a16:creationId xmlns:a16="http://schemas.microsoft.com/office/drawing/2014/main" id="{303B3B53-B655-B847-B5B0-0EB33B796DC3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6CDAF741-C554-9548-88A2-4A7C5A6E333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623034" y="-706"/>
            <a:ext cx="6568755" cy="6867705"/>
          </a:xfrm>
          <a:custGeom>
            <a:avLst/>
            <a:gdLst>
              <a:gd name="connsiteX0" fmla="*/ 0 w 6583362"/>
              <a:gd name="connsiteY0" fmla="*/ 0 h 6858000"/>
              <a:gd name="connsiteX1" fmla="*/ 6583362 w 6583362"/>
              <a:gd name="connsiteY1" fmla="*/ 0 h 6858000"/>
              <a:gd name="connsiteX2" fmla="*/ 6583362 w 6583362"/>
              <a:gd name="connsiteY2" fmla="*/ 6858000 h 6858000"/>
              <a:gd name="connsiteX3" fmla="*/ 30214 w 6583362"/>
              <a:gd name="connsiteY3" fmla="*/ 6858000 h 6858000"/>
              <a:gd name="connsiteX4" fmla="*/ 889459 w 6583362"/>
              <a:gd name="connsiteY4" fmla="*/ 3431977 h 6858000"/>
              <a:gd name="connsiteX5" fmla="*/ 0 w 6583362"/>
              <a:gd name="connsiteY5" fmla="*/ 806 h 6858000"/>
              <a:gd name="connsiteX0" fmla="*/ 0 w 6583362"/>
              <a:gd name="connsiteY0" fmla="*/ 806 h 6858000"/>
              <a:gd name="connsiteX1" fmla="*/ 6583362 w 6583362"/>
              <a:gd name="connsiteY1" fmla="*/ 0 h 6858000"/>
              <a:gd name="connsiteX2" fmla="*/ 6583362 w 6583362"/>
              <a:gd name="connsiteY2" fmla="*/ 6858000 h 6858000"/>
              <a:gd name="connsiteX3" fmla="*/ 30214 w 6583362"/>
              <a:gd name="connsiteY3" fmla="*/ 6858000 h 6858000"/>
              <a:gd name="connsiteX4" fmla="*/ 889459 w 6583362"/>
              <a:gd name="connsiteY4" fmla="*/ 3431977 h 6858000"/>
              <a:gd name="connsiteX5" fmla="*/ 0 w 6583362"/>
              <a:gd name="connsiteY5" fmla="*/ 806 h 6858000"/>
              <a:gd name="connsiteX0" fmla="*/ 0 w 6647177"/>
              <a:gd name="connsiteY0" fmla="*/ 0 h 6867705"/>
              <a:gd name="connsiteX1" fmla="*/ 6647177 w 6647177"/>
              <a:gd name="connsiteY1" fmla="*/ 9705 h 6867705"/>
              <a:gd name="connsiteX2" fmla="*/ 6647177 w 6647177"/>
              <a:gd name="connsiteY2" fmla="*/ 6867705 h 6867705"/>
              <a:gd name="connsiteX3" fmla="*/ 94029 w 6647177"/>
              <a:gd name="connsiteY3" fmla="*/ 6867705 h 6867705"/>
              <a:gd name="connsiteX4" fmla="*/ 953274 w 6647177"/>
              <a:gd name="connsiteY4" fmla="*/ 3441682 h 6867705"/>
              <a:gd name="connsiteX5" fmla="*/ 0 w 6647177"/>
              <a:gd name="connsiteY5" fmla="*/ 0 h 6867705"/>
              <a:gd name="connsiteX0" fmla="*/ 0 w 6647177"/>
              <a:gd name="connsiteY0" fmla="*/ 0 h 6867705"/>
              <a:gd name="connsiteX1" fmla="*/ 6647177 w 6647177"/>
              <a:gd name="connsiteY1" fmla="*/ 9705 h 6867705"/>
              <a:gd name="connsiteX2" fmla="*/ 6647177 w 6647177"/>
              <a:gd name="connsiteY2" fmla="*/ 6867705 h 6867705"/>
              <a:gd name="connsiteX3" fmla="*/ 11944 w 6647177"/>
              <a:gd name="connsiteY3" fmla="*/ 6867705 h 6867705"/>
              <a:gd name="connsiteX4" fmla="*/ 953274 w 6647177"/>
              <a:gd name="connsiteY4" fmla="*/ 3441682 h 6867705"/>
              <a:gd name="connsiteX5" fmla="*/ 0 w 6647177"/>
              <a:gd name="connsiteY5" fmla="*/ 0 h 6867705"/>
              <a:gd name="connsiteX0" fmla="*/ 0 w 6647177"/>
              <a:gd name="connsiteY0" fmla="*/ 0 h 6867705"/>
              <a:gd name="connsiteX1" fmla="*/ 6647177 w 6647177"/>
              <a:gd name="connsiteY1" fmla="*/ 9705 h 6867705"/>
              <a:gd name="connsiteX2" fmla="*/ 6647177 w 6647177"/>
              <a:gd name="connsiteY2" fmla="*/ 6867705 h 6867705"/>
              <a:gd name="connsiteX3" fmla="*/ 11944 w 6647177"/>
              <a:gd name="connsiteY3" fmla="*/ 6867705 h 6867705"/>
              <a:gd name="connsiteX4" fmla="*/ 946470 w 6647177"/>
              <a:gd name="connsiteY4" fmla="*/ 3441682 h 6867705"/>
              <a:gd name="connsiteX5" fmla="*/ 0 w 6647177"/>
              <a:gd name="connsiteY5" fmla="*/ 0 h 6867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47177" h="6867705">
                <a:moveTo>
                  <a:pt x="0" y="0"/>
                </a:moveTo>
                <a:lnTo>
                  <a:pt x="6647177" y="9705"/>
                </a:lnTo>
                <a:lnTo>
                  <a:pt x="6647177" y="6867705"/>
                </a:lnTo>
                <a:lnTo>
                  <a:pt x="11944" y="6867705"/>
                </a:lnTo>
                <a:lnTo>
                  <a:pt x="946470" y="3441682"/>
                </a:lnTo>
                <a:lnTo>
                  <a:pt x="0" y="0"/>
                </a:ln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228600" lvl="0" indent="-228600" algn="ctr"/>
            <a:r>
              <a:rPr lang="ru-RU" dirty="0"/>
              <a:t>Изображение</a:t>
            </a:r>
          </a:p>
        </p:txBody>
      </p:sp>
      <p:sp>
        <p:nvSpPr>
          <p:cNvPr id="18" name="Текст 2">
            <a:extLst>
              <a:ext uri="{FF2B5EF4-FFF2-40B4-BE49-F238E27FC236}">
                <a16:creationId xmlns:a16="http://schemas.microsoft.com/office/drawing/2014/main" id="{6AD6F33B-2415-1C4C-B110-ECE18561BF1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6528" y="6359240"/>
            <a:ext cx="4401928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933C2515-C1ED-3B4E-AE1E-A305BBEA906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621C5FB6-61E4-0240-8565-EFE1BFB061D2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6" name="Нижний колонтитул 3">
            <a:extLst>
              <a:ext uri="{FF2B5EF4-FFF2-40B4-BE49-F238E27FC236}">
                <a16:creationId xmlns:a16="http://schemas.microsoft.com/office/drawing/2014/main" id="{96AE1336-3ED7-C04D-A9FB-2598265F84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33855" y="6356349"/>
            <a:ext cx="338583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bg2"/>
                </a:solidFill>
              </a:defRPr>
            </a:lvl1pPr>
          </a:lstStyle>
          <a:p>
            <a:r>
              <a:rPr lang="ru-RU" dirty="0"/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303016946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горой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2F44F8C-947C-1644-A927-26E4B6403B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E2F44F8C-947C-1644-A927-26E4B6403B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C1B4EF-64D7-894B-8937-1E4CB50F3D07}"/>
              </a:ext>
            </a:extLst>
          </p:cNvPr>
          <p:cNvSpPr txBox="1"/>
          <p:nvPr userDrawn="1"/>
        </p:nvSpPr>
        <p:spPr>
          <a:xfrm>
            <a:off x="11049960" y="6462296"/>
            <a:ext cx="338765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C960BA5E-7A21-1A4B-A537-36612EA657E4}" type="slidenum">
              <a:rPr lang="ru-RU" sz="10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 algn="r"/>
              <a:t>‹#›</a:t>
            </a:fld>
            <a:endParaRPr lang="ru-RU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олилиния 7">
            <a:extLst>
              <a:ext uri="{FF2B5EF4-FFF2-40B4-BE49-F238E27FC236}">
                <a16:creationId xmlns:a16="http://schemas.microsoft.com/office/drawing/2014/main" id="{435A7BF7-A0FA-AA42-AC3A-05BE8E91E4EB}"/>
              </a:ext>
            </a:extLst>
          </p:cNvPr>
          <p:cNvSpPr/>
          <p:nvPr userDrawn="1"/>
        </p:nvSpPr>
        <p:spPr>
          <a:xfrm>
            <a:off x="-1" y="2108516"/>
            <a:ext cx="6460790" cy="4756444"/>
          </a:xfrm>
          <a:custGeom>
            <a:avLst/>
            <a:gdLst>
              <a:gd name="connsiteX0" fmla="*/ 1364852 w 6460790"/>
              <a:gd name="connsiteY0" fmla="*/ 0 h 4756444"/>
              <a:gd name="connsiteX1" fmla="*/ 2305876 w 6460790"/>
              <a:gd name="connsiteY1" fmla="*/ 500338 h 4756444"/>
              <a:gd name="connsiteX2" fmla="*/ 2317966 w 6460790"/>
              <a:gd name="connsiteY2" fmla="*/ 522612 h 4756444"/>
              <a:gd name="connsiteX3" fmla="*/ 2334528 w 6460790"/>
              <a:gd name="connsiteY3" fmla="*/ 469258 h 4756444"/>
              <a:gd name="connsiteX4" fmla="*/ 2779103 w 6460790"/>
              <a:gd name="connsiteY4" fmla="*/ 174573 h 4756444"/>
              <a:gd name="connsiteX5" fmla="*/ 3251793 w 6460790"/>
              <a:gd name="connsiteY5" fmla="*/ 559826 h 4756444"/>
              <a:gd name="connsiteX6" fmla="*/ 3256247 w 6460790"/>
              <a:gd name="connsiteY6" fmla="*/ 604013 h 4756444"/>
              <a:gd name="connsiteX7" fmla="*/ 3328199 w 6460790"/>
              <a:gd name="connsiteY7" fmla="*/ 577678 h 4756444"/>
              <a:gd name="connsiteX8" fmla="*/ 3585139 w 6460790"/>
              <a:gd name="connsiteY8" fmla="*/ 538832 h 4756444"/>
              <a:gd name="connsiteX9" fmla="*/ 4449183 w 6460790"/>
              <a:gd name="connsiteY9" fmla="*/ 1402876 h 4756444"/>
              <a:gd name="connsiteX10" fmla="*/ 4434754 w 6460790"/>
              <a:gd name="connsiteY10" fmla="*/ 1546011 h 4756444"/>
              <a:gd name="connsiteX11" fmla="*/ 4468094 w 6460790"/>
              <a:gd name="connsiteY11" fmla="*/ 1523927 h 4756444"/>
              <a:gd name="connsiteX12" fmla="*/ 4870315 w 6460790"/>
              <a:gd name="connsiteY12" fmla="*/ 1416867 h 4756444"/>
              <a:gd name="connsiteX13" fmla="*/ 5678383 w 6460790"/>
              <a:gd name="connsiteY13" fmla="*/ 2224935 h 4756444"/>
              <a:gd name="connsiteX14" fmla="*/ 5673958 w 6460790"/>
              <a:gd name="connsiteY14" fmla="*/ 2268836 h 4756444"/>
              <a:gd name="connsiteX15" fmla="*/ 5799483 w 6460790"/>
              <a:gd name="connsiteY15" fmla="*/ 2256182 h 4756444"/>
              <a:gd name="connsiteX16" fmla="*/ 6460790 w 6460790"/>
              <a:gd name="connsiteY16" fmla="*/ 2917489 h 4756444"/>
              <a:gd name="connsiteX17" fmla="*/ 6056894 w 6460790"/>
              <a:gd name="connsiteY17" fmla="*/ 3526828 h 4756444"/>
              <a:gd name="connsiteX18" fmla="*/ 5941507 w 6460790"/>
              <a:gd name="connsiteY18" fmla="*/ 3562646 h 4756444"/>
              <a:gd name="connsiteX19" fmla="*/ 5945079 w 6460790"/>
              <a:gd name="connsiteY19" fmla="*/ 3643478 h 4756444"/>
              <a:gd name="connsiteX20" fmla="*/ 5497696 w 6460790"/>
              <a:gd name="connsiteY20" fmla="*/ 4723556 h 4756444"/>
              <a:gd name="connsiteX21" fmla="*/ 5461510 w 6460790"/>
              <a:gd name="connsiteY21" fmla="*/ 4756444 h 4756444"/>
              <a:gd name="connsiteX22" fmla="*/ 3373726 w 6460790"/>
              <a:gd name="connsiteY22" fmla="*/ 4756444 h 4756444"/>
              <a:gd name="connsiteX23" fmla="*/ 3337540 w 6460790"/>
              <a:gd name="connsiteY23" fmla="*/ 4723556 h 4756444"/>
              <a:gd name="connsiteX24" fmla="*/ 3300218 w 6460790"/>
              <a:gd name="connsiteY24" fmla="*/ 4682491 h 4756444"/>
              <a:gd name="connsiteX25" fmla="*/ 3214236 w 6460790"/>
              <a:gd name="connsiteY25" fmla="*/ 4746788 h 4756444"/>
              <a:gd name="connsiteX26" fmla="*/ 3197436 w 6460790"/>
              <a:gd name="connsiteY26" fmla="*/ 4756444 h 4756444"/>
              <a:gd name="connsiteX27" fmla="*/ 0 w 6460790"/>
              <a:gd name="connsiteY27" fmla="*/ 4756444 h 4756444"/>
              <a:gd name="connsiteX28" fmla="*/ 0 w 6460790"/>
              <a:gd name="connsiteY28" fmla="*/ 788938 h 4756444"/>
              <a:gd name="connsiteX29" fmla="*/ 47629 w 6460790"/>
              <a:gd name="connsiteY29" fmla="*/ 781669 h 4756444"/>
              <a:gd name="connsiteX30" fmla="*/ 138597 w 6460790"/>
              <a:gd name="connsiteY30" fmla="*/ 777075 h 4756444"/>
              <a:gd name="connsiteX31" fmla="*/ 274091 w 6460790"/>
              <a:gd name="connsiteY31" fmla="*/ 787327 h 4756444"/>
              <a:gd name="connsiteX32" fmla="*/ 283886 w 6460790"/>
              <a:gd name="connsiteY32" fmla="*/ 789584 h 4756444"/>
              <a:gd name="connsiteX33" fmla="*/ 319197 w 6460790"/>
              <a:gd name="connsiteY33" fmla="*/ 693107 h 4756444"/>
              <a:gd name="connsiteX34" fmla="*/ 1364852 w 6460790"/>
              <a:gd name="connsiteY34" fmla="*/ 0 h 4756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6460790" h="4756444">
                <a:moveTo>
                  <a:pt x="1364852" y="0"/>
                </a:moveTo>
                <a:cubicBezTo>
                  <a:pt x="1756573" y="0"/>
                  <a:pt x="2101938" y="198470"/>
                  <a:pt x="2305876" y="500338"/>
                </a:cubicBezTo>
                <a:lnTo>
                  <a:pt x="2317966" y="522612"/>
                </a:lnTo>
                <a:lnTo>
                  <a:pt x="2334528" y="469258"/>
                </a:lnTo>
                <a:cubicBezTo>
                  <a:pt x="2407774" y="296084"/>
                  <a:pt x="2579248" y="174573"/>
                  <a:pt x="2779103" y="174573"/>
                </a:cubicBezTo>
                <a:cubicBezTo>
                  <a:pt x="3012267" y="174573"/>
                  <a:pt x="3206802" y="339963"/>
                  <a:pt x="3251793" y="559826"/>
                </a:cubicBezTo>
                <a:lnTo>
                  <a:pt x="3256247" y="604013"/>
                </a:lnTo>
                <a:lnTo>
                  <a:pt x="3328199" y="577678"/>
                </a:lnTo>
                <a:cubicBezTo>
                  <a:pt x="3409366" y="552432"/>
                  <a:pt x="3495665" y="538832"/>
                  <a:pt x="3585139" y="538832"/>
                </a:cubicBezTo>
                <a:cubicBezTo>
                  <a:pt x="4062337" y="538832"/>
                  <a:pt x="4449183" y="925678"/>
                  <a:pt x="4449183" y="1402876"/>
                </a:cubicBezTo>
                <a:lnTo>
                  <a:pt x="4434754" y="1546011"/>
                </a:lnTo>
                <a:lnTo>
                  <a:pt x="4468094" y="1523927"/>
                </a:lnTo>
                <a:cubicBezTo>
                  <a:pt x="4586539" y="1455819"/>
                  <a:pt x="4723878" y="1416867"/>
                  <a:pt x="4870315" y="1416867"/>
                </a:cubicBezTo>
                <a:cubicBezTo>
                  <a:pt x="5316599" y="1416867"/>
                  <a:pt x="5678383" y="1778651"/>
                  <a:pt x="5678383" y="2224935"/>
                </a:cubicBezTo>
                <a:lnTo>
                  <a:pt x="5673958" y="2268836"/>
                </a:lnTo>
                <a:lnTo>
                  <a:pt x="5799483" y="2256182"/>
                </a:lnTo>
                <a:cubicBezTo>
                  <a:pt x="6164713" y="2256182"/>
                  <a:pt x="6460790" y="2552259"/>
                  <a:pt x="6460790" y="2917489"/>
                </a:cubicBezTo>
                <a:cubicBezTo>
                  <a:pt x="6460790" y="3191412"/>
                  <a:pt x="6294247" y="3426436"/>
                  <a:pt x="6056894" y="3526828"/>
                </a:cubicBezTo>
                <a:lnTo>
                  <a:pt x="5941507" y="3562646"/>
                </a:lnTo>
                <a:lnTo>
                  <a:pt x="5945079" y="3643478"/>
                </a:lnTo>
                <a:cubicBezTo>
                  <a:pt x="5945079" y="4065275"/>
                  <a:pt x="5774112" y="4447140"/>
                  <a:pt x="5497696" y="4723556"/>
                </a:cubicBezTo>
                <a:lnTo>
                  <a:pt x="5461510" y="4756444"/>
                </a:lnTo>
                <a:lnTo>
                  <a:pt x="3373726" y="4756444"/>
                </a:lnTo>
                <a:lnTo>
                  <a:pt x="3337540" y="4723556"/>
                </a:lnTo>
                <a:lnTo>
                  <a:pt x="3300218" y="4682491"/>
                </a:lnTo>
                <a:lnTo>
                  <a:pt x="3214236" y="4746788"/>
                </a:lnTo>
                <a:lnTo>
                  <a:pt x="3197436" y="4756444"/>
                </a:lnTo>
                <a:lnTo>
                  <a:pt x="0" y="4756444"/>
                </a:lnTo>
                <a:lnTo>
                  <a:pt x="0" y="788938"/>
                </a:lnTo>
                <a:lnTo>
                  <a:pt x="47629" y="781669"/>
                </a:lnTo>
                <a:cubicBezTo>
                  <a:pt x="77539" y="778631"/>
                  <a:pt x="107886" y="777075"/>
                  <a:pt x="138597" y="777075"/>
                </a:cubicBezTo>
                <a:cubicBezTo>
                  <a:pt x="184663" y="777075"/>
                  <a:pt x="229912" y="780576"/>
                  <a:pt x="274091" y="787327"/>
                </a:cubicBezTo>
                <a:lnTo>
                  <a:pt x="283886" y="789584"/>
                </a:lnTo>
                <a:lnTo>
                  <a:pt x="319197" y="693107"/>
                </a:lnTo>
                <a:cubicBezTo>
                  <a:pt x="491474" y="285797"/>
                  <a:pt x="894787" y="0"/>
                  <a:pt x="1364852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3802AD1-766A-DE45-9A3D-BBC3CBD18CC0}"/>
              </a:ext>
            </a:extLst>
          </p:cNvPr>
          <p:cNvSpPr txBox="1"/>
          <p:nvPr userDrawn="1"/>
        </p:nvSpPr>
        <p:spPr>
          <a:xfrm>
            <a:off x="9388251" y="1920638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ru-RU" dirty="0"/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59B9762A-D661-004B-AA68-25A2ABE391B5}"/>
              </a:ext>
            </a:extLst>
          </p:cNvPr>
          <p:cNvGrpSpPr/>
          <p:nvPr userDrawn="1"/>
        </p:nvGrpSpPr>
        <p:grpSpPr>
          <a:xfrm>
            <a:off x="2743200" y="3128963"/>
            <a:ext cx="9458325" cy="3771902"/>
            <a:chOff x="2743200" y="3128963"/>
            <a:chExt cx="9458325" cy="3771902"/>
          </a:xfrm>
        </p:grpSpPr>
        <p:sp>
          <p:nvSpPr>
            <p:cNvPr id="13" name="Полилиния 12">
              <a:extLst>
                <a:ext uri="{FF2B5EF4-FFF2-40B4-BE49-F238E27FC236}">
                  <a16:creationId xmlns:a16="http://schemas.microsoft.com/office/drawing/2014/main" id="{245F897D-F2E4-AE4F-AB0A-7347E2F985FF}"/>
                </a:ext>
              </a:extLst>
            </p:cNvPr>
            <p:cNvSpPr/>
            <p:nvPr/>
          </p:nvSpPr>
          <p:spPr>
            <a:xfrm>
              <a:off x="2786063" y="3128963"/>
              <a:ext cx="9415462" cy="3743325"/>
            </a:xfrm>
            <a:custGeom>
              <a:avLst/>
              <a:gdLst>
                <a:gd name="connsiteX0" fmla="*/ 0 w 9415462"/>
                <a:gd name="connsiteY0" fmla="*/ 3743325 h 3743325"/>
                <a:gd name="connsiteX1" fmla="*/ 1557337 w 9415462"/>
                <a:gd name="connsiteY1" fmla="*/ 2386012 h 3743325"/>
                <a:gd name="connsiteX2" fmla="*/ 2128837 w 9415462"/>
                <a:gd name="connsiteY2" fmla="*/ 2686050 h 3743325"/>
                <a:gd name="connsiteX3" fmla="*/ 3629025 w 9415462"/>
                <a:gd name="connsiteY3" fmla="*/ 957262 h 3743325"/>
                <a:gd name="connsiteX4" fmla="*/ 4300537 w 9415462"/>
                <a:gd name="connsiteY4" fmla="*/ 1600200 h 3743325"/>
                <a:gd name="connsiteX5" fmla="*/ 5715000 w 9415462"/>
                <a:gd name="connsiteY5" fmla="*/ 0 h 3743325"/>
                <a:gd name="connsiteX6" fmla="*/ 7100887 w 9415462"/>
                <a:gd name="connsiteY6" fmla="*/ 1243012 h 3743325"/>
                <a:gd name="connsiteX7" fmla="*/ 8258175 w 9415462"/>
                <a:gd name="connsiteY7" fmla="*/ 1042987 h 3743325"/>
                <a:gd name="connsiteX8" fmla="*/ 9172575 w 9415462"/>
                <a:gd name="connsiteY8" fmla="*/ 1671637 h 3743325"/>
                <a:gd name="connsiteX9" fmla="*/ 9401175 w 9415462"/>
                <a:gd name="connsiteY9" fmla="*/ 1585912 h 3743325"/>
                <a:gd name="connsiteX10" fmla="*/ 9415462 w 9415462"/>
                <a:gd name="connsiteY10" fmla="*/ 3743325 h 3743325"/>
                <a:gd name="connsiteX11" fmla="*/ 0 w 9415462"/>
                <a:gd name="connsiteY11" fmla="*/ 3743325 h 3743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415462" h="3743325">
                  <a:moveTo>
                    <a:pt x="0" y="3743325"/>
                  </a:moveTo>
                  <a:lnTo>
                    <a:pt x="1557337" y="2386012"/>
                  </a:lnTo>
                  <a:lnTo>
                    <a:pt x="2128837" y="2686050"/>
                  </a:lnTo>
                  <a:lnTo>
                    <a:pt x="3629025" y="957262"/>
                  </a:lnTo>
                  <a:lnTo>
                    <a:pt x="4300537" y="1600200"/>
                  </a:lnTo>
                  <a:lnTo>
                    <a:pt x="5715000" y="0"/>
                  </a:lnTo>
                  <a:lnTo>
                    <a:pt x="7100887" y="1243012"/>
                  </a:lnTo>
                  <a:lnTo>
                    <a:pt x="8258175" y="1042987"/>
                  </a:lnTo>
                  <a:lnTo>
                    <a:pt x="9172575" y="1671637"/>
                  </a:lnTo>
                  <a:lnTo>
                    <a:pt x="9401175" y="1585912"/>
                  </a:lnTo>
                  <a:cubicBezTo>
                    <a:pt x="9405937" y="2305050"/>
                    <a:pt x="9410700" y="3024187"/>
                    <a:pt x="9415462" y="3743325"/>
                  </a:cubicBezTo>
                  <a:lnTo>
                    <a:pt x="0" y="3743325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4" name="Полилиния 13">
              <a:extLst>
                <a:ext uri="{FF2B5EF4-FFF2-40B4-BE49-F238E27FC236}">
                  <a16:creationId xmlns:a16="http://schemas.microsoft.com/office/drawing/2014/main" id="{0B32C7D0-36EF-DE49-A525-8E4F0D44B3BD}"/>
                </a:ext>
              </a:extLst>
            </p:cNvPr>
            <p:cNvSpPr/>
            <p:nvPr/>
          </p:nvSpPr>
          <p:spPr>
            <a:xfrm>
              <a:off x="4347396" y="5523567"/>
              <a:ext cx="567770" cy="865510"/>
            </a:xfrm>
            <a:custGeom>
              <a:avLst/>
              <a:gdLst>
                <a:gd name="connsiteX0" fmla="*/ 0 w 521677"/>
                <a:gd name="connsiteY0" fmla="*/ 0 h 849923"/>
                <a:gd name="connsiteX1" fmla="*/ 263769 w 521677"/>
                <a:gd name="connsiteY1" fmla="*/ 310661 h 849923"/>
                <a:gd name="connsiteX2" fmla="*/ 23446 w 521677"/>
                <a:gd name="connsiteY2" fmla="*/ 398584 h 849923"/>
                <a:gd name="connsiteX3" fmla="*/ 263769 w 521677"/>
                <a:gd name="connsiteY3" fmla="*/ 849923 h 849923"/>
                <a:gd name="connsiteX4" fmla="*/ 304800 w 521677"/>
                <a:gd name="connsiteY4" fmla="*/ 492369 h 849923"/>
                <a:gd name="connsiteX5" fmla="*/ 521677 w 521677"/>
                <a:gd name="connsiteY5" fmla="*/ 416169 h 849923"/>
                <a:gd name="connsiteX6" fmla="*/ 515816 w 521677"/>
                <a:gd name="connsiteY6" fmla="*/ 252046 h 849923"/>
                <a:gd name="connsiteX7" fmla="*/ 0 w 521677"/>
                <a:gd name="connsiteY7" fmla="*/ 0 h 849923"/>
                <a:gd name="connsiteX0" fmla="*/ 0 w 536597"/>
                <a:gd name="connsiteY0" fmla="*/ 0 h 849923"/>
                <a:gd name="connsiteX1" fmla="*/ 263769 w 536597"/>
                <a:gd name="connsiteY1" fmla="*/ 310661 h 849923"/>
                <a:gd name="connsiteX2" fmla="*/ 23446 w 536597"/>
                <a:gd name="connsiteY2" fmla="*/ 398584 h 849923"/>
                <a:gd name="connsiteX3" fmla="*/ 263769 w 536597"/>
                <a:gd name="connsiteY3" fmla="*/ 849923 h 849923"/>
                <a:gd name="connsiteX4" fmla="*/ 304800 w 536597"/>
                <a:gd name="connsiteY4" fmla="*/ 492369 h 849923"/>
                <a:gd name="connsiteX5" fmla="*/ 521677 w 536597"/>
                <a:gd name="connsiteY5" fmla="*/ 416169 h 849923"/>
                <a:gd name="connsiteX6" fmla="*/ 536597 w 536597"/>
                <a:gd name="connsiteY6" fmla="*/ 272828 h 849923"/>
                <a:gd name="connsiteX7" fmla="*/ 0 w 536597"/>
                <a:gd name="connsiteY7" fmla="*/ 0 h 849923"/>
                <a:gd name="connsiteX0" fmla="*/ 0 w 567770"/>
                <a:gd name="connsiteY0" fmla="*/ 0 h 865510"/>
                <a:gd name="connsiteX1" fmla="*/ 294942 w 567770"/>
                <a:gd name="connsiteY1" fmla="*/ 326248 h 865510"/>
                <a:gd name="connsiteX2" fmla="*/ 54619 w 567770"/>
                <a:gd name="connsiteY2" fmla="*/ 414171 h 865510"/>
                <a:gd name="connsiteX3" fmla="*/ 294942 w 567770"/>
                <a:gd name="connsiteY3" fmla="*/ 865510 h 865510"/>
                <a:gd name="connsiteX4" fmla="*/ 335973 w 567770"/>
                <a:gd name="connsiteY4" fmla="*/ 507956 h 865510"/>
                <a:gd name="connsiteX5" fmla="*/ 552850 w 567770"/>
                <a:gd name="connsiteY5" fmla="*/ 431756 h 865510"/>
                <a:gd name="connsiteX6" fmla="*/ 567770 w 567770"/>
                <a:gd name="connsiteY6" fmla="*/ 288415 h 865510"/>
                <a:gd name="connsiteX7" fmla="*/ 0 w 567770"/>
                <a:gd name="connsiteY7" fmla="*/ 0 h 86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7770" h="865510">
                  <a:moveTo>
                    <a:pt x="0" y="0"/>
                  </a:moveTo>
                  <a:lnTo>
                    <a:pt x="294942" y="326248"/>
                  </a:lnTo>
                  <a:lnTo>
                    <a:pt x="54619" y="414171"/>
                  </a:lnTo>
                  <a:lnTo>
                    <a:pt x="294942" y="865510"/>
                  </a:lnTo>
                  <a:lnTo>
                    <a:pt x="335973" y="507956"/>
                  </a:lnTo>
                  <a:lnTo>
                    <a:pt x="552850" y="431756"/>
                  </a:lnTo>
                  <a:lnTo>
                    <a:pt x="567770" y="2884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  <a:beve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5" name="Полилиния 14">
              <a:extLst>
                <a:ext uri="{FF2B5EF4-FFF2-40B4-BE49-F238E27FC236}">
                  <a16:creationId xmlns:a16="http://schemas.microsoft.com/office/drawing/2014/main" id="{C45EBF49-D586-DB41-8FBE-08934BC9980A}"/>
                </a:ext>
              </a:extLst>
            </p:cNvPr>
            <p:cNvSpPr/>
            <p:nvPr/>
          </p:nvSpPr>
          <p:spPr>
            <a:xfrm>
              <a:off x="6422382" y="4112934"/>
              <a:ext cx="2217526" cy="2434403"/>
            </a:xfrm>
            <a:custGeom>
              <a:avLst/>
              <a:gdLst>
                <a:gd name="connsiteX0" fmla="*/ 0 w 2186354"/>
                <a:gd name="connsiteY0" fmla="*/ 0 h 2403230"/>
                <a:gd name="connsiteX1" fmla="*/ 234461 w 2186354"/>
                <a:gd name="connsiteY1" fmla="*/ 674077 h 2403230"/>
                <a:gd name="connsiteX2" fmla="*/ 76200 w 2186354"/>
                <a:gd name="connsiteY2" fmla="*/ 668215 h 2403230"/>
                <a:gd name="connsiteX3" fmla="*/ 281354 w 2186354"/>
                <a:gd name="connsiteY3" fmla="*/ 1119554 h 2403230"/>
                <a:gd name="connsiteX4" fmla="*/ 41031 w 2186354"/>
                <a:gd name="connsiteY4" fmla="*/ 1137138 h 2403230"/>
                <a:gd name="connsiteX5" fmla="*/ 527538 w 2186354"/>
                <a:gd name="connsiteY5" fmla="*/ 1565030 h 2403230"/>
                <a:gd name="connsiteX6" fmla="*/ 2186354 w 2186354"/>
                <a:gd name="connsiteY6" fmla="*/ 2403230 h 2403230"/>
                <a:gd name="connsiteX7" fmla="*/ 738554 w 2186354"/>
                <a:gd name="connsiteY7" fmla="*/ 1500554 h 2403230"/>
                <a:gd name="connsiteX8" fmla="*/ 1019908 w 2186354"/>
                <a:gd name="connsiteY8" fmla="*/ 973015 h 2403230"/>
                <a:gd name="connsiteX9" fmla="*/ 674077 w 2186354"/>
                <a:gd name="connsiteY9" fmla="*/ 855784 h 2403230"/>
                <a:gd name="connsiteX10" fmla="*/ 621323 w 2186354"/>
                <a:gd name="connsiteY10" fmla="*/ 568569 h 2403230"/>
                <a:gd name="connsiteX11" fmla="*/ 0 w 2186354"/>
                <a:gd name="connsiteY11" fmla="*/ 0 h 2403230"/>
                <a:gd name="connsiteX0" fmla="*/ 0 w 2217526"/>
                <a:gd name="connsiteY0" fmla="*/ 0 h 2434403"/>
                <a:gd name="connsiteX1" fmla="*/ 265633 w 2217526"/>
                <a:gd name="connsiteY1" fmla="*/ 705250 h 2434403"/>
                <a:gd name="connsiteX2" fmla="*/ 107372 w 2217526"/>
                <a:gd name="connsiteY2" fmla="*/ 699388 h 2434403"/>
                <a:gd name="connsiteX3" fmla="*/ 312526 w 2217526"/>
                <a:gd name="connsiteY3" fmla="*/ 1150727 h 2434403"/>
                <a:gd name="connsiteX4" fmla="*/ 72203 w 2217526"/>
                <a:gd name="connsiteY4" fmla="*/ 1168311 h 2434403"/>
                <a:gd name="connsiteX5" fmla="*/ 558710 w 2217526"/>
                <a:gd name="connsiteY5" fmla="*/ 1596203 h 2434403"/>
                <a:gd name="connsiteX6" fmla="*/ 2217526 w 2217526"/>
                <a:gd name="connsiteY6" fmla="*/ 2434403 h 2434403"/>
                <a:gd name="connsiteX7" fmla="*/ 769726 w 2217526"/>
                <a:gd name="connsiteY7" fmla="*/ 1531727 h 2434403"/>
                <a:gd name="connsiteX8" fmla="*/ 1051080 w 2217526"/>
                <a:gd name="connsiteY8" fmla="*/ 1004188 h 2434403"/>
                <a:gd name="connsiteX9" fmla="*/ 705249 w 2217526"/>
                <a:gd name="connsiteY9" fmla="*/ 886957 h 2434403"/>
                <a:gd name="connsiteX10" fmla="*/ 652495 w 2217526"/>
                <a:gd name="connsiteY10" fmla="*/ 599742 h 2434403"/>
                <a:gd name="connsiteX11" fmla="*/ 0 w 2217526"/>
                <a:gd name="connsiteY11" fmla="*/ 0 h 2434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7526" h="2434403">
                  <a:moveTo>
                    <a:pt x="0" y="0"/>
                  </a:moveTo>
                  <a:lnTo>
                    <a:pt x="265633" y="705250"/>
                  </a:lnTo>
                  <a:lnTo>
                    <a:pt x="107372" y="699388"/>
                  </a:lnTo>
                  <a:lnTo>
                    <a:pt x="312526" y="1150727"/>
                  </a:lnTo>
                  <a:lnTo>
                    <a:pt x="72203" y="1168311"/>
                  </a:lnTo>
                  <a:lnTo>
                    <a:pt x="558710" y="1596203"/>
                  </a:lnTo>
                  <a:lnTo>
                    <a:pt x="2217526" y="2434403"/>
                  </a:lnTo>
                  <a:lnTo>
                    <a:pt x="769726" y="1531727"/>
                  </a:lnTo>
                  <a:lnTo>
                    <a:pt x="1051080" y="1004188"/>
                  </a:lnTo>
                  <a:lnTo>
                    <a:pt x="705249" y="886957"/>
                  </a:lnTo>
                  <a:lnTo>
                    <a:pt x="652495" y="5997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  <a:beve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6" name="Полилиния 15">
              <a:extLst>
                <a:ext uri="{FF2B5EF4-FFF2-40B4-BE49-F238E27FC236}">
                  <a16:creationId xmlns:a16="http://schemas.microsoft.com/office/drawing/2014/main" id="{8DCAA507-2613-8B49-A2D7-5AAB45B6277A}"/>
                </a:ext>
              </a:extLst>
            </p:cNvPr>
            <p:cNvSpPr/>
            <p:nvPr/>
          </p:nvSpPr>
          <p:spPr>
            <a:xfrm>
              <a:off x="8523875" y="3160566"/>
              <a:ext cx="1710371" cy="2783033"/>
            </a:xfrm>
            <a:custGeom>
              <a:avLst/>
              <a:gdLst>
                <a:gd name="connsiteX0" fmla="*/ 0 w 1746738"/>
                <a:gd name="connsiteY0" fmla="*/ 0 h 2819400"/>
                <a:gd name="connsiteX1" fmla="*/ 504092 w 1746738"/>
                <a:gd name="connsiteY1" fmla="*/ 978877 h 2819400"/>
                <a:gd name="connsiteX2" fmla="*/ 87923 w 1746738"/>
                <a:gd name="connsiteY2" fmla="*/ 1031631 h 2819400"/>
                <a:gd name="connsiteX3" fmla="*/ 1277815 w 1746738"/>
                <a:gd name="connsiteY3" fmla="*/ 2174631 h 2819400"/>
                <a:gd name="connsiteX4" fmla="*/ 1746738 w 1746738"/>
                <a:gd name="connsiteY4" fmla="*/ 2819400 h 2819400"/>
                <a:gd name="connsiteX5" fmla="*/ 1336430 w 1746738"/>
                <a:gd name="connsiteY5" fmla="*/ 1811215 h 2819400"/>
                <a:gd name="connsiteX6" fmla="*/ 1506415 w 1746738"/>
                <a:gd name="connsiteY6" fmla="*/ 1535723 h 2819400"/>
                <a:gd name="connsiteX7" fmla="*/ 1383323 w 1746738"/>
                <a:gd name="connsiteY7" fmla="*/ 1236785 h 2819400"/>
                <a:gd name="connsiteX8" fmla="*/ 0 w 1746738"/>
                <a:gd name="connsiteY8" fmla="*/ 0 h 2819400"/>
                <a:gd name="connsiteX0" fmla="*/ 0 w 1720761"/>
                <a:gd name="connsiteY0" fmla="*/ 0 h 2767446"/>
                <a:gd name="connsiteX1" fmla="*/ 478115 w 1720761"/>
                <a:gd name="connsiteY1" fmla="*/ 926923 h 2767446"/>
                <a:gd name="connsiteX2" fmla="*/ 61946 w 1720761"/>
                <a:gd name="connsiteY2" fmla="*/ 979677 h 2767446"/>
                <a:gd name="connsiteX3" fmla="*/ 1251838 w 1720761"/>
                <a:gd name="connsiteY3" fmla="*/ 2122677 h 2767446"/>
                <a:gd name="connsiteX4" fmla="*/ 1720761 w 1720761"/>
                <a:gd name="connsiteY4" fmla="*/ 2767446 h 2767446"/>
                <a:gd name="connsiteX5" fmla="*/ 1310453 w 1720761"/>
                <a:gd name="connsiteY5" fmla="*/ 1759261 h 2767446"/>
                <a:gd name="connsiteX6" fmla="*/ 1480438 w 1720761"/>
                <a:gd name="connsiteY6" fmla="*/ 1483769 h 2767446"/>
                <a:gd name="connsiteX7" fmla="*/ 1357346 w 1720761"/>
                <a:gd name="connsiteY7" fmla="*/ 1184831 h 2767446"/>
                <a:gd name="connsiteX8" fmla="*/ 0 w 1720761"/>
                <a:gd name="connsiteY8" fmla="*/ 0 h 2767446"/>
                <a:gd name="connsiteX0" fmla="*/ 0 w 1710371"/>
                <a:gd name="connsiteY0" fmla="*/ 0 h 2783033"/>
                <a:gd name="connsiteX1" fmla="*/ 467725 w 1710371"/>
                <a:gd name="connsiteY1" fmla="*/ 942510 h 2783033"/>
                <a:gd name="connsiteX2" fmla="*/ 51556 w 1710371"/>
                <a:gd name="connsiteY2" fmla="*/ 995264 h 2783033"/>
                <a:gd name="connsiteX3" fmla="*/ 1241448 w 1710371"/>
                <a:gd name="connsiteY3" fmla="*/ 2138264 h 2783033"/>
                <a:gd name="connsiteX4" fmla="*/ 1710371 w 1710371"/>
                <a:gd name="connsiteY4" fmla="*/ 2783033 h 2783033"/>
                <a:gd name="connsiteX5" fmla="*/ 1300063 w 1710371"/>
                <a:gd name="connsiteY5" fmla="*/ 1774848 h 2783033"/>
                <a:gd name="connsiteX6" fmla="*/ 1470048 w 1710371"/>
                <a:gd name="connsiteY6" fmla="*/ 1499356 h 2783033"/>
                <a:gd name="connsiteX7" fmla="*/ 1346956 w 1710371"/>
                <a:gd name="connsiteY7" fmla="*/ 1200418 h 2783033"/>
                <a:gd name="connsiteX8" fmla="*/ 0 w 1710371"/>
                <a:gd name="connsiteY8" fmla="*/ 0 h 2783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10371" h="2783033">
                  <a:moveTo>
                    <a:pt x="0" y="0"/>
                  </a:moveTo>
                  <a:lnTo>
                    <a:pt x="467725" y="942510"/>
                  </a:lnTo>
                  <a:lnTo>
                    <a:pt x="51556" y="995264"/>
                  </a:lnTo>
                  <a:lnTo>
                    <a:pt x="1241448" y="2138264"/>
                  </a:lnTo>
                  <a:lnTo>
                    <a:pt x="1710371" y="2783033"/>
                  </a:lnTo>
                  <a:lnTo>
                    <a:pt x="1300063" y="1774848"/>
                  </a:lnTo>
                  <a:lnTo>
                    <a:pt x="1470048" y="1499356"/>
                  </a:lnTo>
                  <a:lnTo>
                    <a:pt x="1346956" y="12004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  <a:beve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8" name="Полилиния 17">
              <a:extLst>
                <a:ext uri="{FF2B5EF4-FFF2-40B4-BE49-F238E27FC236}">
                  <a16:creationId xmlns:a16="http://schemas.microsoft.com/office/drawing/2014/main" id="{9A001011-D375-8840-8EBF-070E544C735C}"/>
                </a:ext>
              </a:extLst>
            </p:cNvPr>
            <p:cNvSpPr/>
            <p:nvPr/>
          </p:nvSpPr>
          <p:spPr>
            <a:xfrm>
              <a:off x="10756900" y="4172978"/>
              <a:ext cx="1438174" cy="2692776"/>
            </a:xfrm>
            <a:custGeom>
              <a:avLst/>
              <a:gdLst>
                <a:gd name="connsiteX0" fmla="*/ 266700 w 1447800"/>
                <a:gd name="connsiteY0" fmla="*/ 0 h 2730500"/>
                <a:gd name="connsiteX1" fmla="*/ 317500 w 1447800"/>
                <a:gd name="connsiteY1" fmla="*/ 698500 h 2730500"/>
                <a:gd name="connsiteX2" fmla="*/ 0 w 1447800"/>
                <a:gd name="connsiteY2" fmla="*/ 749300 h 2730500"/>
                <a:gd name="connsiteX3" fmla="*/ 508000 w 1447800"/>
                <a:gd name="connsiteY3" fmla="*/ 1892300 h 2730500"/>
                <a:gd name="connsiteX4" fmla="*/ 1295400 w 1447800"/>
                <a:gd name="connsiteY4" fmla="*/ 2463800 h 2730500"/>
                <a:gd name="connsiteX5" fmla="*/ 1447800 w 1447800"/>
                <a:gd name="connsiteY5" fmla="*/ 2730500 h 2730500"/>
                <a:gd name="connsiteX6" fmla="*/ 1384300 w 1447800"/>
                <a:gd name="connsiteY6" fmla="*/ 2222500 h 2730500"/>
                <a:gd name="connsiteX7" fmla="*/ 1066800 w 1447800"/>
                <a:gd name="connsiteY7" fmla="*/ 1803400 h 2730500"/>
                <a:gd name="connsiteX8" fmla="*/ 1295400 w 1447800"/>
                <a:gd name="connsiteY8" fmla="*/ 1473200 h 2730500"/>
                <a:gd name="connsiteX9" fmla="*/ 1206500 w 1447800"/>
                <a:gd name="connsiteY9" fmla="*/ 609600 h 2730500"/>
                <a:gd name="connsiteX10" fmla="*/ 266700 w 1447800"/>
                <a:gd name="connsiteY10" fmla="*/ 0 h 2730500"/>
                <a:gd name="connsiteX0" fmla="*/ 307521 w 1447800"/>
                <a:gd name="connsiteY0" fmla="*/ 0 h 2722336"/>
                <a:gd name="connsiteX1" fmla="*/ 317500 w 1447800"/>
                <a:gd name="connsiteY1" fmla="*/ 690336 h 2722336"/>
                <a:gd name="connsiteX2" fmla="*/ 0 w 1447800"/>
                <a:gd name="connsiteY2" fmla="*/ 741136 h 2722336"/>
                <a:gd name="connsiteX3" fmla="*/ 508000 w 1447800"/>
                <a:gd name="connsiteY3" fmla="*/ 1884136 h 2722336"/>
                <a:gd name="connsiteX4" fmla="*/ 1295400 w 1447800"/>
                <a:gd name="connsiteY4" fmla="*/ 2455636 h 2722336"/>
                <a:gd name="connsiteX5" fmla="*/ 1447800 w 1447800"/>
                <a:gd name="connsiteY5" fmla="*/ 2722336 h 2722336"/>
                <a:gd name="connsiteX6" fmla="*/ 1384300 w 1447800"/>
                <a:gd name="connsiteY6" fmla="*/ 2214336 h 2722336"/>
                <a:gd name="connsiteX7" fmla="*/ 1066800 w 1447800"/>
                <a:gd name="connsiteY7" fmla="*/ 1795236 h 2722336"/>
                <a:gd name="connsiteX8" fmla="*/ 1295400 w 1447800"/>
                <a:gd name="connsiteY8" fmla="*/ 1465036 h 2722336"/>
                <a:gd name="connsiteX9" fmla="*/ 1206500 w 1447800"/>
                <a:gd name="connsiteY9" fmla="*/ 601436 h 2722336"/>
                <a:gd name="connsiteX10" fmla="*/ 307521 w 1447800"/>
                <a:gd name="connsiteY10" fmla="*/ 0 h 2722336"/>
                <a:gd name="connsiteX0" fmla="*/ 288954 w 1447800"/>
                <a:gd name="connsiteY0" fmla="*/ 0 h 2740902"/>
                <a:gd name="connsiteX1" fmla="*/ 317500 w 1447800"/>
                <a:gd name="connsiteY1" fmla="*/ 708902 h 2740902"/>
                <a:gd name="connsiteX2" fmla="*/ 0 w 1447800"/>
                <a:gd name="connsiteY2" fmla="*/ 759702 h 2740902"/>
                <a:gd name="connsiteX3" fmla="*/ 508000 w 1447800"/>
                <a:gd name="connsiteY3" fmla="*/ 1902702 h 2740902"/>
                <a:gd name="connsiteX4" fmla="*/ 1295400 w 1447800"/>
                <a:gd name="connsiteY4" fmla="*/ 2474202 h 2740902"/>
                <a:gd name="connsiteX5" fmla="*/ 1447800 w 1447800"/>
                <a:gd name="connsiteY5" fmla="*/ 2740902 h 2740902"/>
                <a:gd name="connsiteX6" fmla="*/ 1384300 w 1447800"/>
                <a:gd name="connsiteY6" fmla="*/ 2232902 h 2740902"/>
                <a:gd name="connsiteX7" fmla="*/ 1066800 w 1447800"/>
                <a:gd name="connsiteY7" fmla="*/ 1813802 h 2740902"/>
                <a:gd name="connsiteX8" fmla="*/ 1295400 w 1447800"/>
                <a:gd name="connsiteY8" fmla="*/ 1483602 h 2740902"/>
                <a:gd name="connsiteX9" fmla="*/ 1206500 w 1447800"/>
                <a:gd name="connsiteY9" fmla="*/ 620002 h 2740902"/>
                <a:gd name="connsiteX10" fmla="*/ 288954 w 1447800"/>
                <a:gd name="connsiteY10" fmla="*/ 0 h 2740902"/>
                <a:gd name="connsiteX0" fmla="*/ 288954 w 1438174"/>
                <a:gd name="connsiteY0" fmla="*/ 0 h 2692776"/>
                <a:gd name="connsiteX1" fmla="*/ 317500 w 1438174"/>
                <a:gd name="connsiteY1" fmla="*/ 708902 h 2692776"/>
                <a:gd name="connsiteX2" fmla="*/ 0 w 1438174"/>
                <a:gd name="connsiteY2" fmla="*/ 759702 h 2692776"/>
                <a:gd name="connsiteX3" fmla="*/ 508000 w 1438174"/>
                <a:gd name="connsiteY3" fmla="*/ 1902702 h 2692776"/>
                <a:gd name="connsiteX4" fmla="*/ 1295400 w 1438174"/>
                <a:gd name="connsiteY4" fmla="*/ 2474202 h 2692776"/>
                <a:gd name="connsiteX5" fmla="*/ 1438174 w 1438174"/>
                <a:gd name="connsiteY5" fmla="*/ 2692776 h 2692776"/>
                <a:gd name="connsiteX6" fmla="*/ 1384300 w 1438174"/>
                <a:gd name="connsiteY6" fmla="*/ 2232902 h 2692776"/>
                <a:gd name="connsiteX7" fmla="*/ 1066800 w 1438174"/>
                <a:gd name="connsiteY7" fmla="*/ 1813802 h 2692776"/>
                <a:gd name="connsiteX8" fmla="*/ 1295400 w 1438174"/>
                <a:gd name="connsiteY8" fmla="*/ 1483602 h 2692776"/>
                <a:gd name="connsiteX9" fmla="*/ 1206500 w 1438174"/>
                <a:gd name="connsiteY9" fmla="*/ 620002 h 2692776"/>
                <a:gd name="connsiteX10" fmla="*/ 288954 w 1438174"/>
                <a:gd name="connsiteY10" fmla="*/ 0 h 2692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38174" h="2692776">
                  <a:moveTo>
                    <a:pt x="288954" y="0"/>
                  </a:moveTo>
                  <a:lnTo>
                    <a:pt x="317500" y="708902"/>
                  </a:lnTo>
                  <a:lnTo>
                    <a:pt x="0" y="759702"/>
                  </a:lnTo>
                  <a:lnTo>
                    <a:pt x="508000" y="1902702"/>
                  </a:lnTo>
                  <a:lnTo>
                    <a:pt x="1295400" y="2474202"/>
                  </a:lnTo>
                  <a:lnTo>
                    <a:pt x="1438174" y="2692776"/>
                  </a:lnTo>
                  <a:lnTo>
                    <a:pt x="1384300" y="2232902"/>
                  </a:lnTo>
                  <a:lnTo>
                    <a:pt x="1066800" y="1813802"/>
                  </a:lnTo>
                  <a:lnTo>
                    <a:pt x="1295400" y="1483602"/>
                  </a:lnTo>
                  <a:lnTo>
                    <a:pt x="1206500" y="620002"/>
                  </a:lnTo>
                  <a:lnTo>
                    <a:pt x="288954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9" name="Полилиния 18">
              <a:extLst>
                <a:ext uri="{FF2B5EF4-FFF2-40B4-BE49-F238E27FC236}">
                  <a16:creationId xmlns:a16="http://schemas.microsoft.com/office/drawing/2014/main" id="{2224E1A4-8603-F943-B388-2DE862A3E01D}"/>
                </a:ext>
              </a:extLst>
            </p:cNvPr>
            <p:cNvSpPr/>
            <p:nvPr/>
          </p:nvSpPr>
          <p:spPr>
            <a:xfrm>
              <a:off x="2743200" y="3521036"/>
              <a:ext cx="5432219" cy="3379829"/>
            </a:xfrm>
            <a:custGeom>
              <a:avLst/>
              <a:gdLst>
                <a:gd name="connsiteX0" fmla="*/ 0 w 6572250"/>
                <a:gd name="connsiteY0" fmla="*/ 4614863 h 4614863"/>
                <a:gd name="connsiteX1" fmla="*/ 1600200 w 6572250"/>
                <a:gd name="connsiteY1" fmla="*/ 3200400 h 4614863"/>
                <a:gd name="connsiteX2" fmla="*/ 2171700 w 6572250"/>
                <a:gd name="connsiteY2" fmla="*/ 3486150 h 4614863"/>
                <a:gd name="connsiteX3" fmla="*/ 3686175 w 6572250"/>
                <a:gd name="connsiteY3" fmla="*/ 1785938 h 4614863"/>
                <a:gd name="connsiteX4" fmla="*/ 4357688 w 6572250"/>
                <a:gd name="connsiteY4" fmla="*/ 2400300 h 4614863"/>
                <a:gd name="connsiteX5" fmla="*/ 6572250 w 6572250"/>
                <a:gd name="connsiteY5" fmla="*/ 0 h 4614863"/>
                <a:gd name="connsiteX0" fmla="*/ 0 w 5432219"/>
                <a:gd name="connsiteY0" fmla="*/ 3379829 h 3379829"/>
                <a:gd name="connsiteX1" fmla="*/ 1600200 w 5432219"/>
                <a:gd name="connsiteY1" fmla="*/ 1965366 h 3379829"/>
                <a:gd name="connsiteX2" fmla="*/ 2171700 w 5432219"/>
                <a:gd name="connsiteY2" fmla="*/ 2251116 h 3379829"/>
                <a:gd name="connsiteX3" fmla="*/ 3686175 w 5432219"/>
                <a:gd name="connsiteY3" fmla="*/ 550904 h 3379829"/>
                <a:gd name="connsiteX4" fmla="*/ 4357688 w 5432219"/>
                <a:gd name="connsiteY4" fmla="*/ 1165266 h 3379829"/>
                <a:gd name="connsiteX5" fmla="*/ 5432219 w 5432219"/>
                <a:gd name="connsiteY5" fmla="*/ 0 h 337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32219" h="3379829">
                  <a:moveTo>
                    <a:pt x="0" y="3379829"/>
                  </a:moveTo>
                  <a:lnTo>
                    <a:pt x="1600200" y="1965366"/>
                  </a:lnTo>
                  <a:lnTo>
                    <a:pt x="2171700" y="2251116"/>
                  </a:lnTo>
                  <a:lnTo>
                    <a:pt x="3686175" y="550904"/>
                  </a:lnTo>
                  <a:lnTo>
                    <a:pt x="4357688" y="1165266"/>
                  </a:lnTo>
                  <a:lnTo>
                    <a:pt x="5432219" y="0"/>
                  </a:lnTo>
                </a:path>
              </a:pathLst>
            </a:custGeom>
            <a:noFill/>
            <a:ln w="69850">
              <a:solidFill>
                <a:schemeClr val="bg2"/>
              </a:solidFill>
              <a:tailEnd type="arrow" w="lg" len="lg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23" name="Текст 2">
            <a:extLst>
              <a:ext uri="{FF2B5EF4-FFF2-40B4-BE49-F238E27FC236}">
                <a16:creationId xmlns:a16="http://schemas.microsoft.com/office/drawing/2014/main" id="{56E9E17D-8AC1-D849-BA48-B5BEDC5117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4AADF3D3-AFBC-6841-9B45-A7155C9C7F3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F01C1EB4-C198-0746-96DB-5A1EAFFC2DD1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1" name="Нижний колонтитул 3">
            <a:extLst>
              <a:ext uri="{FF2B5EF4-FFF2-40B4-BE49-F238E27FC236}">
                <a16:creationId xmlns:a16="http://schemas.microsoft.com/office/drawing/2014/main" id="{602DFBC8-D0A1-8A45-8E2E-A3F064694E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33855" y="6356349"/>
            <a:ext cx="338583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4632091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Достижение цели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8337782-491F-4146-986F-1D2393C040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2" name="Текст 2">
            <a:extLst>
              <a:ext uri="{FF2B5EF4-FFF2-40B4-BE49-F238E27FC236}">
                <a16:creationId xmlns:a16="http://schemas.microsoft.com/office/drawing/2014/main" id="{C5FFB94A-244D-414D-92D8-758A83EE48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D22AF4B1-6379-B04D-B1EF-23A6DB84BA3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C2CD96B6-2291-484B-8473-DF225020BAFE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583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1/2 залив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8109D373-A5FC-3145-A72E-19E6093F3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8109D373-A5FC-3145-A72E-19E6093F3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B25FCF0-2689-E740-92E7-6F6AA6DD9764}"/>
              </a:ext>
            </a:extLst>
          </p:cNvPr>
          <p:cNvGrpSpPr/>
          <p:nvPr userDrawn="1"/>
        </p:nvGrpSpPr>
        <p:grpSpPr>
          <a:xfrm>
            <a:off x="5330559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13" name="Полилиния 12">
            <a:extLst>
              <a:ext uri="{FF2B5EF4-FFF2-40B4-BE49-F238E27FC236}">
                <a16:creationId xmlns:a16="http://schemas.microsoft.com/office/drawing/2014/main" id="{7987E582-CD0D-4546-B723-8831CB5C99C4}"/>
              </a:ext>
            </a:extLst>
          </p:cNvPr>
          <p:cNvSpPr/>
          <p:nvPr userDrawn="1"/>
        </p:nvSpPr>
        <p:spPr>
          <a:xfrm>
            <a:off x="5546360" y="0"/>
            <a:ext cx="6645640" cy="6858000"/>
          </a:xfrm>
          <a:custGeom>
            <a:avLst/>
            <a:gdLst>
              <a:gd name="connsiteX0" fmla="*/ 0 w 6645640"/>
              <a:gd name="connsiteY0" fmla="*/ 0 h 6858000"/>
              <a:gd name="connsiteX1" fmla="*/ 1315082 w 6645640"/>
              <a:gd name="connsiteY1" fmla="*/ 0 h 6858000"/>
              <a:gd name="connsiteX2" fmla="*/ 5292944 w 6645640"/>
              <a:gd name="connsiteY2" fmla="*/ 0 h 6858000"/>
              <a:gd name="connsiteX3" fmla="*/ 6645640 w 6645640"/>
              <a:gd name="connsiteY3" fmla="*/ 0 h 6858000"/>
              <a:gd name="connsiteX4" fmla="*/ 6645640 w 6645640"/>
              <a:gd name="connsiteY4" fmla="*/ 6858000 h 6858000"/>
              <a:gd name="connsiteX5" fmla="*/ 6600669 w 6645640"/>
              <a:gd name="connsiteY5" fmla="*/ 6858000 h 6858000"/>
              <a:gd name="connsiteX6" fmla="*/ 1315082 w 6645640"/>
              <a:gd name="connsiteY6" fmla="*/ 6858000 h 6858000"/>
              <a:gd name="connsiteX7" fmla="*/ 1307725 w 66456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45640" h="6858000">
                <a:moveTo>
                  <a:pt x="0" y="0"/>
                </a:moveTo>
                <a:lnTo>
                  <a:pt x="1315082" y="0"/>
                </a:lnTo>
                <a:lnTo>
                  <a:pt x="5292944" y="0"/>
                </a:lnTo>
                <a:lnTo>
                  <a:pt x="6645640" y="0"/>
                </a:lnTo>
                <a:lnTo>
                  <a:pt x="6645640" y="6858000"/>
                </a:lnTo>
                <a:lnTo>
                  <a:pt x="6600669" y="6858000"/>
                </a:lnTo>
                <a:lnTo>
                  <a:pt x="1315082" y="6858000"/>
                </a:lnTo>
                <a:lnTo>
                  <a:pt x="1307725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E1E0B669-4B81-314B-B237-29B03B68C51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5" name="Заголовок 16">
            <a:extLst>
              <a:ext uri="{FF2B5EF4-FFF2-40B4-BE49-F238E27FC236}">
                <a16:creationId xmlns:a16="http://schemas.microsoft.com/office/drawing/2014/main" id="{A5206CF0-26BD-0740-9F78-3A9C35798B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7" y="402822"/>
            <a:ext cx="4414972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732C1E6C-0422-454C-81E2-52D60891D0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5279473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329BA9F8-54A0-E44E-93C7-F7EBC6A7E16F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A8226128-6444-A446-98BA-DF341CF84B1C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577DD2B-E2FC-2E45-8E26-31E358FB9FF3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63719574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 об успехах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FAE91DE0-0856-E94F-A9F7-29FB3988FB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FAE91DE0-0856-E94F-A9F7-29FB3988F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1" name="Рисунок 55">
            <a:extLst>
              <a:ext uri="{FF2B5EF4-FFF2-40B4-BE49-F238E27FC236}">
                <a16:creationId xmlns:a16="http://schemas.microsoft.com/office/drawing/2014/main" id="{96F380F0-3522-BC41-84F9-158BE61DEB32}"/>
              </a:ext>
            </a:extLst>
          </p:cNvPr>
          <p:cNvSpPr/>
          <p:nvPr/>
        </p:nvSpPr>
        <p:spPr>
          <a:xfrm>
            <a:off x="6795063" y="1099433"/>
            <a:ext cx="6012166" cy="6637679"/>
          </a:xfrm>
          <a:custGeom>
            <a:avLst/>
            <a:gdLst>
              <a:gd name="connsiteX0" fmla="*/ 5979960 w 6012166"/>
              <a:gd name="connsiteY0" fmla="*/ 680400 h 6637679"/>
              <a:gd name="connsiteX1" fmla="*/ 5896800 w 6012166"/>
              <a:gd name="connsiteY1" fmla="*/ 642600 h 6637679"/>
              <a:gd name="connsiteX2" fmla="*/ 4747680 w 6012166"/>
              <a:gd name="connsiteY2" fmla="*/ 642600 h 6637679"/>
              <a:gd name="connsiteX3" fmla="*/ 4747680 w 6012166"/>
              <a:gd name="connsiteY3" fmla="*/ 113400 h 6637679"/>
              <a:gd name="connsiteX4" fmla="*/ 4634280 w 6012166"/>
              <a:gd name="connsiteY4" fmla="*/ 0 h 6637679"/>
              <a:gd name="connsiteX5" fmla="*/ 1406160 w 6012166"/>
              <a:gd name="connsiteY5" fmla="*/ 0 h 6637679"/>
              <a:gd name="connsiteX6" fmla="*/ 1292760 w 6012166"/>
              <a:gd name="connsiteY6" fmla="*/ 113400 h 6637679"/>
              <a:gd name="connsiteX7" fmla="*/ 1292760 w 6012166"/>
              <a:gd name="connsiteY7" fmla="*/ 642600 h 6637679"/>
              <a:gd name="connsiteX8" fmla="*/ 113400 w 6012166"/>
              <a:gd name="connsiteY8" fmla="*/ 642600 h 6637679"/>
              <a:gd name="connsiteX9" fmla="*/ 30240 w 6012166"/>
              <a:gd name="connsiteY9" fmla="*/ 680400 h 6637679"/>
              <a:gd name="connsiteX10" fmla="*/ 0 w 6012166"/>
              <a:gd name="connsiteY10" fmla="*/ 763560 h 6637679"/>
              <a:gd name="connsiteX11" fmla="*/ 196560 w 6012166"/>
              <a:gd name="connsiteY11" fmla="*/ 1829520 h 6637679"/>
              <a:gd name="connsiteX12" fmla="*/ 1391040 w 6012166"/>
              <a:gd name="connsiteY12" fmla="*/ 3349080 h 6637679"/>
              <a:gd name="connsiteX13" fmla="*/ 2509920 w 6012166"/>
              <a:gd name="connsiteY13" fmla="*/ 4619160 h 6637679"/>
              <a:gd name="connsiteX14" fmla="*/ 2509920 w 6012166"/>
              <a:gd name="connsiteY14" fmla="*/ 4641840 h 6637679"/>
              <a:gd name="connsiteX15" fmla="*/ 1421280 w 6012166"/>
              <a:gd name="connsiteY15" fmla="*/ 5768280 h 6637679"/>
              <a:gd name="connsiteX16" fmla="*/ 1307880 w 6012166"/>
              <a:gd name="connsiteY16" fmla="*/ 5881680 h 6637679"/>
              <a:gd name="connsiteX17" fmla="*/ 1307880 w 6012166"/>
              <a:gd name="connsiteY17" fmla="*/ 6524280 h 6637679"/>
              <a:gd name="connsiteX18" fmla="*/ 1421280 w 6012166"/>
              <a:gd name="connsiteY18" fmla="*/ 6637680 h 6637679"/>
              <a:gd name="connsiteX19" fmla="*/ 4634280 w 6012166"/>
              <a:gd name="connsiteY19" fmla="*/ 6637680 h 6637679"/>
              <a:gd name="connsiteX20" fmla="*/ 4747680 w 6012166"/>
              <a:gd name="connsiteY20" fmla="*/ 6524280 h 6637679"/>
              <a:gd name="connsiteX21" fmla="*/ 4747680 w 6012166"/>
              <a:gd name="connsiteY21" fmla="*/ 5881680 h 6637679"/>
              <a:gd name="connsiteX22" fmla="*/ 4634280 w 6012166"/>
              <a:gd name="connsiteY22" fmla="*/ 5768280 h 6637679"/>
              <a:gd name="connsiteX23" fmla="*/ 3507840 w 6012166"/>
              <a:gd name="connsiteY23" fmla="*/ 4641840 h 6637679"/>
              <a:gd name="connsiteX24" fmla="*/ 3507840 w 6012166"/>
              <a:gd name="connsiteY24" fmla="*/ 4626720 h 6637679"/>
              <a:gd name="connsiteX25" fmla="*/ 4656960 w 6012166"/>
              <a:gd name="connsiteY25" fmla="*/ 3333960 h 6637679"/>
              <a:gd name="connsiteX26" fmla="*/ 5813641 w 6012166"/>
              <a:gd name="connsiteY26" fmla="*/ 1829520 h 6637679"/>
              <a:gd name="connsiteX27" fmla="*/ 6010200 w 6012166"/>
              <a:gd name="connsiteY27" fmla="*/ 763560 h 6637679"/>
              <a:gd name="connsiteX28" fmla="*/ 5979960 w 6012166"/>
              <a:gd name="connsiteY28" fmla="*/ 680400 h 6637679"/>
              <a:gd name="connsiteX29" fmla="*/ 234360 w 6012166"/>
              <a:gd name="connsiteY29" fmla="*/ 869400 h 6637679"/>
              <a:gd name="connsiteX30" fmla="*/ 1292760 w 6012166"/>
              <a:gd name="connsiteY30" fmla="*/ 869400 h 6637679"/>
              <a:gd name="connsiteX31" fmla="*/ 1292760 w 6012166"/>
              <a:gd name="connsiteY31" fmla="*/ 2683800 h 6637679"/>
              <a:gd name="connsiteX32" fmla="*/ 1323000 w 6012166"/>
              <a:gd name="connsiteY32" fmla="*/ 3054240 h 6637679"/>
              <a:gd name="connsiteX33" fmla="*/ 234360 w 6012166"/>
              <a:gd name="connsiteY33" fmla="*/ 869400 h 6637679"/>
              <a:gd name="connsiteX34" fmla="*/ 4520880 w 6012166"/>
              <a:gd name="connsiteY34" fmla="*/ 5987520 h 6637679"/>
              <a:gd name="connsiteX35" fmla="*/ 4520880 w 6012166"/>
              <a:gd name="connsiteY35" fmla="*/ 6403320 h 6637679"/>
              <a:gd name="connsiteX36" fmla="*/ 1534680 w 6012166"/>
              <a:gd name="connsiteY36" fmla="*/ 6403320 h 6637679"/>
              <a:gd name="connsiteX37" fmla="*/ 1534680 w 6012166"/>
              <a:gd name="connsiteY37" fmla="*/ 5987520 h 6637679"/>
              <a:gd name="connsiteX38" fmla="*/ 2729160 w 6012166"/>
              <a:gd name="connsiteY38" fmla="*/ 4679640 h 6637679"/>
              <a:gd name="connsiteX39" fmla="*/ 3016440 w 6012166"/>
              <a:gd name="connsiteY39" fmla="*/ 4709880 h 6637679"/>
              <a:gd name="connsiteX40" fmla="*/ 3281040 w 6012166"/>
              <a:gd name="connsiteY40" fmla="*/ 4687200 h 6637679"/>
              <a:gd name="connsiteX41" fmla="*/ 4520880 w 6012166"/>
              <a:gd name="connsiteY41" fmla="*/ 5987520 h 6637679"/>
              <a:gd name="connsiteX42" fmla="*/ 3318840 w 6012166"/>
              <a:gd name="connsiteY42" fmla="*/ 4452840 h 6637679"/>
              <a:gd name="connsiteX43" fmla="*/ 3024000 w 6012166"/>
              <a:gd name="connsiteY43" fmla="*/ 4490640 h 6637679"/>
              <a:gd name="connsiteX44" fmla="*/ 2691360 w 6012166"/>
              <a:gd name="connsiteY44" fmla="*/ 4445280 h 6637679"/>
              <a:gd name="connsiteX45" fmla="*/ 2615760 w 6012166"/>
              <a:gd name="connsiteY45" fmla="*/ 4422600 h 6637679"/>
              <a:gd name="connsiteX46" fmla="*/ 1519560 w 6012166"/>
              <a:gd name="connsiteY46" fmla="*/ 2691360 h 6637679"/>
              <a:gd name="connsiteX47" fmla="*/ 1519560 w 6012166"/>
              <a:gd name="connsiteY47" fmla="*/ 234360 h 6637679"/>
              <a:gd name="connsiteX48" fmla="*/ 4520880 w 6012166"/>
              <a:gd name="connsiteY48" fmla="*/ 234360 h 6637679"/>
              <a:gd name="connsiteX49" fmla="*/ 4520880 w 6012166"/>
              <a:gd name="connsiteY49" fmla="*/ 687960 h 6637679"/>
              <a:gd name="connsiteX50" fmla="*/ 4520880 w 6012166"/>
              <a:gd name="connsiteY50" fmla="*/ 831600 h 6637679"/>
              <a:gd name="connsiteX51" fmla="*/ 4520880 w 6012166"/>
              <a:gd name="connsiteY51" fmla="*/ 2691360 h 6637679"/>
              <a:gd name="connsiteX52" fmla="*/ 3417120 w 6012166"/>
              <a:gd name="connsiteY52" fmla="*/ 4422600 h 6637679"/>
              <a:gd name="connsiteX53" fmla="*/ 4725000 w 6012166"/>
              <a:gd name="connsiteY53" fmla="*/ 3039120 h 6637679"/>
              <a:gd name="connsiteX54" fmla="*/ 4755241 w 6012166"/>
              <a:gd name="connsiteY54" fmla="*/ 2683800 h 6637679"/>
              <a:gd name="connsiteX55" fmla="*/ 4755241 w 6012166"/>
              <a:gd name="connsiteY55" fmla="*/ 869400 h 6637679"/>
              <a:gd name="connsiteX56" fmla="*/ 5783400 w 6012166"/>
              <a:gd name="connsiteY56" fmla="*/ 869400 h 6637679"/>
              <a:gd name="connsiteX57" fmla="*/ 4725000 w 6012166"/>
              <a:gd name="connsiteY57" fmla="*/ 3039120 h 66376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6012166" h="6637679">
                <a:moveTo>
                  <a:pt x="5979960" y="680400"/>
                </a:moveTo>
                <a:cubicBezTo>
                  <a:pt x="5957280" y="657720"/>
                  <a:pt x="5927041" y="642600"/>
                  <a:pt x="5896800" y="642600"/>
                </a:cubicBezTo>
                <a:lnTo>
                  <a:pt x="4747680" y="642600"/>
                </a:lnTo>
                <a:lnTo>
                  <a:pt x="4747680" y="113400"/>
                </a:lnTo>
                <a:cubicBezTo>
                  <a:pt x="4747680" y="52920"/>
                  <a:pt x="4694760" y="0"/>
                  <a:pt x="4634280" y="0"/>
                </a:cubicBezTo>
                <a:lnTo>
                  <a:pt x="1406160" y="0"/>
                </a:lnTo>
                <a:cubicBezTo>
                  <a:pt x="1345680" y="0"/>
                  <a:pt x="1292760" y="52920"/>
                  <a:pt x="1292760" y="113400"/>
                </a:cubicBezTo>
                <a:lnTo>
                  <a:pt x="1292760" y="642600"/>
                </a:lnTo>
                <a:lnTo>
                  <a:pt x="113400" y="642600"/>
                </a:lnTo>
                <a:cubicBezTo>
                  <a:pt x="83160" y="642600"/>
                  <a:pt x="52920" y="657720"/>
                  <a:pt x="30240" y="680400"/>
                </a:cubicBezTo>
                <a:cubicBezTo>
                  <a:pt x="7560" y="703080"/>
                  <a:pt x="0" y="733320"/>
                  <a:pt x="0" y="763560"/>
                </a:cubicBezTo>
                <a:cubicBezTo>
                  <a:pt x="0" y="786240"/>
                  <a:pt x="22680" y="1270080"/>
                  <a:pt x="196560" y="1829520"/>
                </a:cubicBezTo>
                <a:cubicBezTo>
                  <a:pt x="438480" y="2577960"/>
                  <a:pt x="846720" y="3107160"/>
                  <a:pt x="1391040" y="3349080"/>
                </a:cubicBezTo>
                <a:cubicBezTo>
                  <a:pt x="1572480" y="3953880"/>
                  <a:pt x="1988280" y="4430160"/>
                  <a:pt x="2509920" y="4619160"/>
                </a:cubicBezTo>
                <a:lnTo>
                  <a:pt x="2509920" y="4641840"/>
                </a:lnTo>
                <a:cubicBezTo>
                  <a:pt x="2509920" y="5269320"/>
                  <a:pt x="2033640" y="5768280"/>
                  <a:pt x="1421280" y="5768280"/>
                </a:cubicBezTo>
                <a:cubicBezTo>
                  <a:pt x="1360800" y="5768280"/>
                  <a:pt x="1307880" y="5821200"/>
                  <a:pt x="1307880" y="5881680"/>
                </a:cubicBezTo>
                <a:lnTo>
                  <a:pt x="1307880" y="6524280"/>
                </a:lnTo>
                <a:cubicBezTo>
                  <a:pt x="1307880" y="6584760"/>
                  <a:pt x="1360800" y="6637680"/>
                  <a:pt x="1421280" y="6637680"/>
                </a:cubicBezTo>
                <a:lnTo>
                  <a:pt x="4634280" y="6637680"/>
                </a:lnTo>
                <a:cubicBezTo>
                  <a:pt x="4694760" y="6637680"/>
                  <a:pt x="4747680" y="6584760"/>
                  <a:pt x="4747680" y="6524280"/>
                </a:cubicBezTo>
                <a:lnTo>
                  <a:pt x="4747680" y="5881680"/>
                </a:lnTo>
                <a:cubicBezTo>
                  <a:pt x="4747680" y="5821200"/>
                  <a:pt x="4694760" y="5768280"/>
                  <a:pt x="4634280" y="5768280"/>
                </a:cubicBezTo>
                <a:cubicBezTo>
                  <a:pt x="4014360" y="5768280"/>
                  <a:pt x="3507840" y="5261760"/>
                  <a:pt x="3507840" y="4641840"/>
                </a:cubicBezTo>
                <a:lnTo>
                  <a:pt x="3507840" y="4626720"/>
                </a:lnTo>
                <a:cubicBezTo>
                  <a:pt x="4052160" y="4437720"/>
                  <a:pt x="4475520" y="3953880"/>
                  <a:pt x="4656960" y="3333960"/>
                </a:cubicBezTo>
                <a:cubicBezTo>
                  <a:pt x="5178600" y="3084480"/>
                  <a:pt x="5579280" y="2562840"/>
                  <a:pt x="5813641" y="1829520"/>
                </a:cubicBezTo>
                <a:cubicBezTo>
                  <a:pt x="5995080" y="1270080"/>
                  <a:pt x="6010200" y="778680"/>
                  <a:pt x="6010200" y="763560"/>
                </a:cubicBezTo>
                <a:cubicBezTo>
                  <a:pt x="6017760" y="733320"/>
                  <a:pt x="6002641" y="703080"/>
                  <a:pt x="5979960" y="680400"/>
                </a:cubicBezTo>
                <a:close/>
                <a:moveTo>
                  <a:pt x="234360" y="869400"/>
                </a:moveTo>
                <a:lnTo>
                  <a:pt x="1292760" y="869400"/>
                </a:lnTo>
                <a:lnTo>
                  <a:pt x="1292760" y="2683800"/>
                </a:lnTo>
                <a:cubicBezTo>
                  <a:pt x="1292760" y="2812320"/>
                  <a:pt x="1300320" y="2933280"/>
                  <a:pt x="1323000" y="3054240"/>
                </a:cubicBezTo>
                <a:cubicBezTo>
                  <a:pt x="461160" y="2540160"/>
                  <a:pt x="272160" y="1262520"/>
                  <a:pt x="234360" y="869400"/>
                </a:cubicBezTo>
                <a:close/>
                <a:moveTo>
                  <a:pt x="4520880" y="5987520"/>
                </a:moveTo>
                <a:lnTo>
                  <a:pt x="4520880" y="6403320"/>
                </a:lnTo>
                <a:lnTo>
                  <a:pt x="1534680" y="6403320"/>
                </a:lnTo>
                <a:lnTo>
                  <a:pt x="1534680" y="5987520"/>
                </a:lnTo>
                <a:cubicBezTo>
                  <a:pt x="2199960" y="5934600"/>
                  <a:pt x="2714040" y="5382720"/>
                  <a:pt x="2729160" y="4679640"/>
                </a:cubicBezTo>
                <a:cubicBezTo>
                  <a:pt x="2819880" y="4694760"/>
                  <a:pt x="2918160" y="4709880"/>
                  <a:pt x="3016440" y="4709880"/>
                </a:cubicBezTo>
                <a:cubicBezTo>
                  <a:pt x="3107160" y="4709880"/>
                  <a:pt x="3197880" y="4702320"/>
                  <a:pt x="3281040" y="4687200"/>
                </a:cubicBezTo>
                <a:cubicBezTo>
                  <a:pt x="3311280" y="5375160"/>
                  <a:pt x="3848040" y="5934600"/>
                  <a:pt x="4520880" y="5987520"/>
                </a:cubicBezTo>
                <a:close/>
                <a:moveTo>
                  <a:pt x="3318840" y="4452840"/>
                </a:moveTo>
                <a:cubicBezTo>
                  <a:pt x="3220560" y="4475520"/>
                  <a:pt x="3122280" y="4490640"/>
                  <a:pt x="3024000" y="4490640"/>
                </a:cubicBezTo>
                <a:cubicBezTo>
                  <a:pt x="2910600" y="4490640"/>
                  <a:pt x="2797200" y="4475520"/>
                  <a:pt x="2691360" y="4445280"/>
                </a:cubicBezTo>
                <a:cubicBezTo>
                  <a:pt x="2668680" y="4437720"/>
                  <a:pt x="2630880" y="4422600"/>
                  <a:pt x="2615760" y="4422600"/>
                </a:cubicBezTo>
                <a:cubicBezTo>
                  <a:pt x="1988280" y="4210920"/>
                  <a:pt x="1519560" y="3515400"/>
                  <a:pt x="1519560" y="2691360"/>
                </a:cubicBezTo>
                <a:lnTo>
                  <a:pt x="1519560" y="234360"/>
                </a:lnTo>
                <a:lnTo>
                  <a:pt x="4520880" y="234360"/>
                </a:lnTo>
                <a:lnTo>
                  <a:pt x="4520880" y="687960"/>
                </a:lnTo>
                <a:lnTo>
                  <a:pt x="4520880" y="831600"/>
                </a:lnTo>
                <a:lnTo>
                  <a:pt x="4520880" y="2691360"/>
                </a:lnTo>
                <a:cubicBezTo>
                  <a:pt x="4520880" y="3515400"/>
                  <a:pt x="4052160" y="4210920"/>
                  <a:pt x="3417120" y="4422600"/>
                </a:cubicBezTo>
                <a:moveTo>
                  <a:pt x="4725000" y="3039120"/>
                </a:moveTo>
                <a:cubicBezTo>
                  <a:pt x="4740120" y="2925720"/>
                  <a:pt x="4755241" y="2804760"/>
                  <a:pt x="4755241" y="2683800"/>
                </a:cubicBezTo>
                <a:lnTo>
                  <a:pt x="4755241" y="869400"/>
                </a:lnTo>
                <a:lnTo>
                  <a:pt x="5783400" y="869400"/>
                </a:lnTo>
                <a:cubicBezTo>
                  <a:pt x="5745600" y="1262520"/>
                  <a:pt x="5564160" y="2502360"/>
                  <a:pt x="4725000" y="3039120"/>
                </a:cubicBezTo>
                <a:close/>
              </a:path>
            </a:pathLst>
          </a:custGeom>
          <a:solidFill>
            <a:schemeClr val="tx1">
              <a:lumMod val="85000"/>
            </a:schemeClr>
          </a:solidFill>
          <a:ln w="75533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norm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Рисунок 184">
            <a:extLst>
              <a:ext uri="{FF2B5EF4-FFF2-40B4-BE49-F238E27FC236}">
                <a16:creationId xmlns:a16="http://schemas.microsoft.com/office/drawing/2014/main" id="{37CC6E31-6EE5-5746-87AC-33AF073E87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312993" y="1333826"/>
            <a:ext cx="3001320" cy="4256280"/>
          </a:xfrm>
          <a:custGeom>
            <a:avLst/>
            <a:gdLst>
              <a:gd name="connsiteX0" fmla="*/ 587921 w 3001320"/>
              <a:gd name="connsiteY0" fmla="*/ 0 h 4256280"/>
              <a:gd name="connsiteX1" fmla="*/ 3001320 w 3001320"/>
              <a:gd name="connsiteY1" fmla="*/ 0 h 4256280"/>
              <a:gd name="connsiteX2" fmla="*/ 3001320 w 3001320"/>
              <a:gd name="connsiteY2" fmla="*/ 453600 h 4256280"/>
              <a:gd name="connsiteX3" fmla="*/ 3001320 w 3001320"/>
              <a:gd name="connsiteY3" fmla="*/ 597240 h 4256280"/>
              <a:gd name="connsiteX4" fmla="*/ 3001320 w 3001320"/>
              <a:gd name="connsiteY4" fmla="*/ 2457000 h 4256280"/>
              <a:gd name="connsiteX5" fmla="*/ 1897560 w 3001320"/>
              <a:gd name="connsiteY5" fmla="*/ 4188240 h 4256280"/>
              <a:gd name="connsiteX6" fmla="*/ 1799280 w 3001320"/>
              <a:gd name="connsiteY6" fmla="*/ 4218480 h 4256280"/>
              <a:gd name="connsiteX7" fmla="*/ 1504440 w 3001320"/>
              <a:gd name="connsiteY7" fmla="*/ 4256280 h 4256280"/>
              <a:gd name="connsiteX8" fmla="*/ 1171800 w 3001320"/>
              <a:gd name="connsiteY8" fmla="*/ 4210920 h 4256280"/>
              <a:gd name="connsiteX9" fmla="*/ 1096200 w 3001320"/>
              <a:gd name="connsiteY9" fmla="*/ 4188240 h 4256280"/>
              <a:gd name="connsiteX10" fmla="*/ 0 w 3001320"/>
              <a:gd name="connsiteY10" fmla="*/ 2457000 h 4256280"/>
              <a:gd name="connsiteX11" fmla="*/ 0 w 3001320"/>
              <a:gd name="connsiteY11" fmla="*/ 1777625 h 4256280"/>
              <a:gd name="connsiteX12" fmla="*/ 8878 w 3001320"/>
              <a:gd name="connsiteY12" fmla="*/ 1778520 h 4256280"/>
              <a:gd name="connsiteX13" fmla="*/ 728878 w 3001320"/>
              <a:gd name="connsiteY13" fmla="*/ 1058520 h 4256280"/>
              <a:gd name="connsiteX14" fmla="*/ 289135 w 3001320"/>
              <a:gd name="connsiteY14" fmla="*/ 395101 h 4256280"/>
              <a:gd name="connsiteX15" fmla="*/ 248052 w 3001320"/>
              <a:gd name="connsiteY15" fmla="*/ 382349 h 4256280"/>
              <a:gd name="connsiteX16" fmla="*/ 587921 w 3001320"/>
              <a:gd name="connsiteY16" fmla="*/ 218268 h 4256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001320" h="4256280">
                <a:moveTo>
                  <a:pt x="587921" y="0"/>
                </a:moveTo>
                <a:lnTo>
                  <a:pt x="3001320" y="0"/>
                </a:lnTo>
                <a:lnTo>
                  <a:pt x="3001320" y="453600"/>
                </a:lnTo>
                <a:lnTo>
                  <a:pt x="3001320" y="597240"/>
                </a:lnTo>
                <a:lnTo>
                  <a:pt x="3001320" y="2457000"/>
                </a:lnTo>
                <a:cubicBezTo>
                  <a:pt x="3001320" y="3281040"/>
                  <a:pt x="2532600" y="3976560"/>
                  <a:pt x="1897560" y="4188240"/>
                </a:cubicBezTo>
                <a:lnTo>
                  <a:pt x="1799280" y="4218480"/>
                </a:lnTo>
                <a:cubicBezTo>
                  <a:pt x="1701000" y="4241160"/>
                  <a:pt x="1602720" y="4256280"/>
                  <a:pt x="1504440" y="4256280"/>
                </a:cubicBezTo>
                <a:cubicBezTo>
                  <a:pt x="1391040" y="4256280"/>
                  <a:pt x="1277640" y="4241160"/>
                  <a:pt x="1171800" y="4210920"/>
                </a:cubicBezTo>
                <a:cubicBezTo>
                  <a:pt x="1149120" y="4203360"/>
                  <a:pt x="1111320" y="4188240"/>
                  <a:pt x="1096200" y="4188240"/>
                </a:cubicBezTo>
                <a:cubicBezTo>
                  <a:pt x="468720" y="3976560"/>
                  <a:pt x="0" y="3281040"/>
                  <a:pt x="0" y="2457000"/>
                </a:cubicBezTo>
                <a:lnTo>
                  <a:pt x="0" y="1777625"/>
                </a:lnTo>
                <a:lnTo>
                  <a:pt x="8878" y="1778520"/>
                </a:lnTo>
                <a:cubicBezTo>
                  <a:pt x="406523" y="1778520"/>
                  <a:pt x="728878" y="1456165"/>
                  <a:pt x="728878" y="1058520"/>
                </a:cubicBezTo>
                <a:cubicBezTo>
                  <a:pt x="728878" y="760286"/>
                  <a:pt x="547553" y="504403"/>
                  <a:pt x="289135" y="395101"/>
                </a:cubicBezTo>
                <a:lnTo>
                  <a:pt x="248052" y="382349"/>
                </a:lnTo>
                <a:lnTo>
                  <a:pt x="587921" y="218268"/>
                </a:lnTo>
                <a:close/>
              </a:path>
            </a:pathLst>
          </a:custGeom>
          <a:pattFill prst="lgCheck">
            <a:fgClr>
              <a:schemeClr val="tx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grpSp>
        <p:nvGrpSpPr>
          <p:cNvPr id="186" name="Группа 185">
            <a:extLst>
              <a:ext uri="{FF2B5EF4-FFF2-40B4-BE49-F238E27FC236}">
                <a16:creationId xmlns:a16="http://schemas.microsoft.com/office/drawing/2014/main" id="{F5EE88C8-76B2-3B4D-9851-482672956E3F}"/>
              </a:ext>
            </a:extLst>
          </p:cNvPr>
          <p:cNvGrpSpPr/>
          <p:nvPr userDrawn="1"/>
        </p:nvGrpSpPr>
        <p:grpSpPr>
          <a:xfrm>
            <a:off x="7617637" y="995560"/>
            <a:ext cx="1440000" cy="2116786"/>
            <a:chOff x="5241377" y="3161798"/>
            <a:chExt cx="1440000" cy="2116786"/>
          </a:xfrm>
        </p:grpSpPr>
        <p:sp>
          <p:nvSpPr>
            <p:cNvPr id="187" name="Овал 186">
              <a:extLst>
                <a:ext uri="{FF2B5EF4-FFF2-40B4-BE49-F238E27FC236}">
                  <a16:creationId xmlns:a16="http://schemas.microsoft.com/office/drawing/2014/main" id="{4A63F203-495B-0845-9D42-333AEC62E43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41377" y="3838584"/>
              <a:ext cx="1440000" cy="14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grpSp>
          <p:nvGrpSpPr>
            <p:cNvPr id="188" name="Группа 187">
              <a:extLst>
                <a:ext uri="{FF2B5EF4-FFF2-40B4-BE49-F238E27FC236}">
                  <a16:creationId xmlns:a16="http://schemas.microsoft.com/office/drawing/2014/main" id="{22EE3388-E3EB-BE4A-AC4E-17C19EB01FBA}"/>
                </a:ext>
              </a:extLst>
            </p:cNvPr>
            <p:cNvGrpSpPr/>
            <p:nvPr userDrawn="1"/>
          </p:nvGrpSpPr>
          <p:grpSpPr>
            <a:xfrm rot="10800000">
              <a:off x="5385135" y="3161798"/>
              <a:ext cx="1152483" cy="834729"/>
              <a:chOff x="1433528" y="4172580"/>
              <a:chExt cx="371579" cy="269130"/>
            </a:xfrm>
          </p:grpSpPr>
          <p:sp>
            <p:nvSpPr>
              <p:cNvPr id="191" name="Нашивка 190">
                <a:extLst>
                  <a:ext uri="{FF2B5EF4-FFF2-40B4-BE49-F238E27FC236}">
                    <a16:creationId xmlns:a16="http://schemas.microsoft.com/office/drawing/2014/main" id="{E5D5ABEB-D4F4-0941-BC66-76F2DF717158}"/>
                  </a:ext>
                </a:extLst>
              </p:cNvPr>
              <p:cNvSpPr/>
              <p:nvPr userDrawn="1"/>
            </p:nvSpPr>
            <p:spPr>
              <a:xfrm rot="16200000">
                <a:off x="1529622" y="4076486"/>
                <a:ext cx="179390" cy="371578"/>
              </a:xfrm>
              <a:prstGeom prst="chevron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2" name="Нашивка 191">
                <a:extLst>
                  <a:ext uri="{FF2B5EF4-FFF2-40B4-BE49-F238E27FC236}">
                    <a16:creationId xmlns:a16="http://schemas.microsoft.com/office/drawing/2014/main" id="{44DBED6E-1164-5E4B-B050-DD484279A8C5}"/>
                  </a:ext>
                </a:extLst>
              </p:cNvPr>
              <p:cNvSpPr/>
              <p:nvPr userDrawn="1"/>
            </p:nvSpPr>
            <p:spPr>
              <a:xfrm rot="16200000">
                <a:off x="1529576" y="4166180"/>
                <a:ext cx="179483" cy="371578"/>
              </a:xfrm>
              <a:prstGeom prst="chevro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89" name="Полилиния 188">
              <a:extLst>
                <a:ext uri="{FF2B5EF4-FFF2-40B4-BE49-F238E27FC236}">
                  <a16:creationId xmlns:a16="http://schemas.microsoft.com/office/drawing/2014/main" id="{C6FE1240-8A00-E94B-A405-C65B36C341E1}"/>
                </a:ext>
              </a:extLst>
            </p:cNvPr>
            <p:cNvSpPr/>
            <p:nvPr userDrawn="1"/>
          </p:nvSpPr>
          <p:spPr>
            <a:xfrm>
              <a:off x="5618059" y="4204079"/>
              <a:ext cx="686636" cy="655742"/>
            </a:xfrm>
            <a:custGeom>
              <a:avLst/>
              <a:gdLst>
                <a:gd name="connsiteX0" fmla="*/ 411026 w 779125"/>
                <a:gd name="connsiteY0" fmla="*/ 574746 h 744070"/>
                <a:gd name="connsiteX1" fmla="*/ 575579 w 779125"/>
                <a:gd name="connsiteY1" fmla="*/ 660600 h 744070"/>
                <a:gd name="connsiteX2" fmla="*/ 575579 w 779125"/>
                <a:gd name="connsiteY2" fmla="*/ 660600 h 744070"/>
                <a:gd name="connsiteX3" fmla="*/ 411027 w 779125"/>
                <a:gd name="connsiteY3" fmla="*/ 574746 h 744070"/>
                <a:gd name="connsiteX4" fmla="*/ 387178 w 779125"/>
                <a:gd name="connsiteY4" fmla="*/ 88239 h 744070"/>
                <a:gd name="connsiteX5" fmla="*/ 303708 w 779125"/>
                <a:gd name="connsiteY5" fmla="*/ 259948 h 744070"/>
                <a:gd name="connsiteX6" fmla="*/ 277475 w 779125"/>
                <a:gd name="connsiteY6" fmla="*/ 279026 h 744070"/>
                <a:gd name="connsiteX7" fmla="*/ 89073 w 779125"/>
                <a:gd name="connsiteY7" fmla="*/ 307644 h 744070"/>
                <a:gd name="connsiteX8" fmla="*/ 225009 w 779125"/>
                <a:gd name="connsiteY8" fmla="*/ 441195 h 744070"/>
                <a:gd name="connsiteX9" fmla="*/ 234548 w 779125"/>
                <a:gd name="connsiteY9" fmla="*/ 472198 h 744070"/>
                <a:gd name="connsiteX10" fmla="*/ 201160 w 779125"/>
                <a:gd name="connsiteY10" fmla="*/ 662985 h 744070"/>
                <a:gd name="connsiteX11" fmla="*/ 201161 w 779125"/>
                <a:gd name="connsiteY11" fmla="*/ 662985 h 744070"/>
                <a:gd name="connsiteX12" fmla="*/ 234549 w 779125"/>
                <a:gd name="connsiteY12" fmla="*/ 472198 h 744070"/>
                <a:gd name="connsiteX13" fmla="*/ 225010 w 779125"/>
                <a:gd name="connsiteY13" fmla="*/ 441195 h 744070"/>
                <a:gd name="connsiteX14" fmla="*/ 89074 w 779125"/>
                <a:gd name="connsiteY14" fmla="*/ 307644 h 744070"/>
                <a:gd name="connsiteX15" fmla="*/ 277476 w 779125"/>
                <a:gd name="connsiteY15" fmla="*/ 279026 h 744070"/>
                <a:gd name="connsiteX16" fmla="*/ 303709 w 779125"/>
                <a:gd name="connsiteY16" fmla="*/ 259948 h 744070"/>
                <a:gd name="connsiteX17" fmla="*/ 387179 w 779125"/>
                <a:gd name="connsiteY17" fmla="*/ 88240 h 744070"/>
                <a:gd name="connsiteX18" fmla="*/ 387178 w 779125"/>
                <a:gd name="connsiteY18" fmla="*/ 0 h 744070"/>
                <a:gd name="connsiteX19" fmla="*/ 439644 w 779125"/>
                <a:gd name="connsiteY19" fmla="*/ 33388 h 744070"/>
                <a:gd name="connsiteX20" fmla="*/ 527883 w 779125"/>
                <a:gd name="connsiteY20" fmla="*/ 212251 h 744070"/>
                <a:gd name="connsiteX21" fmla="*/ 723439 w 779125"/>
                <a:gd name="connsiteY21" fmla="*/ 240869 h 744070"/>
                <a:gd name="connsiteX22" fmla="*/ 775906 w 779125"/>
                <a:gd name="connsiteY22" fmla="*/ 281411 h 744070"/>
                <a:gd name="connsiteX23" fmla="*/ 761597 w 779125"/>
                <a:gd name="connsiteY23" fmla="*/ 341032 h 744070"/>
                <a:gd name="connsiteX24" fmla="*/ 618507 w 779125"/>
                <a:gd name="connsiteY24" fmla="*/ 479353 h 744070"/>
                <a:gd name="connsiteX25" fmla="*/ 651894 w 779125"/>
                <a:gd name="connsiteY25" fmla="*/ 674909 h 744070"/>
                <a:gd name="connsiteX26" fmla="*/ 628046 w 779125"/>
                <a:gd name="connsiteY26" fmla="*/ 732145 h 744070"/>
                <a:gd name="connsiteX27" fmla="*/ 566040 w 779125"/>
                <a:gd name="connsiteY27" fmla="*/ 736915 h 744070"/>
                <a:gd name="connsiteX28" fmla="*/ 394332 w 779125"/>
                <a:gd name="connsiteY28" fmla="*/ 646291 h 744070"/>
                <a:gd name="connsiteX29" fmla="*/ 213084 w 779125"/>
                <a:gd name="connsiteY29" fmla="*/ 736915 h 744070"/>
                <a:gd name="connsiteX30" fmla="*/ 186851 w 779125"/>
                <a:gd name="connsiteY30" fmla="*/ 744070 h 744070"/>
                <a:gd name="connsiteX31" fmla="*/ 151078 w 779125"/>
                <a:gd name="connsiteY31" fmla="*/ 732145 h 744070"/>
                <a:gd name="connsiteX32" fmla="*/ 127230 w 779125"/>
                <a:gd name="connsiteY32" fmla="*/ 674909 h 744070"/>
                <a:gd name="connsiteX33" fmla="*/ 160618 w 779125"/>
                <a:gd name="connsiteY33" fmla="*/ 479353 h 744070"/>
                <a:gd name="connsiteX34" fmla="*/ 17528 w 779125"/>
                <a:gd name="connsiteY34" fmla="*/ 341032 h 744070"/>
                <a:gd name="connsiteX35" fmla="*/ 3219 w 779125"/>
                <a:gd name="connsiteY35" fmla="*/ 281411 h 744070"/>
                <a:gd name="connsiteX36" fmla="*/ 50916 w 779125"/>
                <a:gd name="connsiteY36" fmla="*/ 240869 h 744070"/>
                <a:gd name="connsiteX37" fmla="*/ 246472 w 779125"/>
                <a:gd name="connsiteY37" fmla="*/ 212251 h 744070"/>
                <a:gd name="connsiteX38" fmla="*/ 334711 w 779125"/>
                <a:gd name="connsiteY38" fmla="*/ 33388 h 744070"/>
                <a:gd name="connsiteX39" fmla="*/ 387178 w 779125"/>
                <a:gd name="connsiteY39" fmla="*/ 0 h 744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779125" h="744070">
                  <a:moveTo>
                    <a:pt x="411026" y="574746"/>
                  </a:moveTo>
                  <a:lnTo>
                    <a:pt x="575579" y="660600"/>
                  </a:lnTo>
                  <a:lnTo>
                    <a:pt x="575579" y="660600"/>
                  </a:lnTo>
                  <a:lnTo>
                    <a:pt x="411027" y="574746"/>
                  </a:lnTo>
                  <a:close/>
                  <a:moveTo>
                    <a:pt x="387178" y="88239"/>
                  </a:moveTo>
                  <a:lnTo>
                    <a:pt x="303708" y="259948"/>
                  </a:lnTo>
                  <a:cubicBezTo>
                    <a:pt x="298938" y="269487"/>
                    <a:pt x="289399" y="276641"/>
                    <a:pt x="277475" y="279026"/>
                  </a:cubicBezTo>
                  <a:lnTo>
                    <a:pt x="89073" y="307644"/>
                  </a:lnTo>
                  <a:lnTo>
                    <a:pt x="225009" y="441195"/>
                  </a:lnTo>
                  <a:cubicBezTo>
                    <a:pt x="232163" y="448349"/>
                    <a:pt x="236933" y="460274"/>
                    <a:pt x="234548" y="472198"/>
                  </a:cubicBezTo>
                  <a:lnTo>
                    <a:pt x="201160" y="662985"/>
                  </a:lnTo>
                  <a:lnTo>
                    <a:pt x="201161" y="662985"/>
                  </a:lnTo>
                  <a:lnTo>
                    <a:pt x="234549" y="472198"/>
                  </a:lnTo>
                  <a:cubicBezTo>
                    <a:pt x="236934" y="460274"/>
                    <a:pt x="232164" y="448349"/>
                    <a:pt x="225010" y="441195"/>
                  </a:cubicBezTo>
                  <a:lnTo>
                    <a:pt x="89074" y="307644"/>
                  </a:lnTo>
                  <a:lnTo>
                    <a:pt x="277476" y="279026"/>
                  </a:lnTo>
                  <a:cubicBezTo>
                    <a:pt x="289400" y="276641"/>
                    <a:pt x="298939" y="269487"/>
                    <a:pt x="303709" y="259948"/>
                  </a:cubicBezTo>
                  <a:lnTo>
                    <a:pt x="387179" y="88240"/>
                  </a:lnTo>
                  <a:close/>
                  <a:moveTo>
                    <a:pt x="387178" y="0"/>
                  </a:moveTo>
                  <a:cubicBezTo>
                    <a:pt x="408641" y="0"/>
                    <a:pt x="430104" y="14309"/>
                    <a:pt x="439644" y="33388"/>
                  </a:cubicBezTo>
                  <a:lnTo>
                    <a:pt x="527883" y="212251"/>
                  </a:lnTo>
                  <a:lnTo>
                    <a:pt x="723439" y="240869"/>
                  </a:lnTo>
                  <a:cubicBezTo>
                    <a:pt x="747288" y="243253"/>
                    <a:pt x="763982" y="259948"/>
                    <a:pt x="775906" y="281411"/>
                  </a:cubicBezTo>
                  <a:cubicBezTo>
                    <a:pt x="783060" y="302874"/>
                    <a:pt x="778291" y="324338"/>
                    <a:pt x="761597" y="341032"/>
                  </a:cubicBezTo>
                  <a:lnTo>
                    <a:pt x="618507" y="479353"/>
                  </a:lnTo>
                  <a:lnTo>
                    <a:pt x="651894" y="674909"/>
                  </a:lnTo>
                  <a:cubicBezTo>
                    <a:pt x="654279" y="696373"/>
                    <a:pt x="647124" y="717836"/>
                    <a:pt x="628046" y="732145"/>
                  </a:cubicBezTo>
                  <a:cubicBezTo>
                    <a:pt x="608967" y="746454"/>
                    <a:pt x="585119" y="746454"/>
                    <a:pt x="566040" y="736915"/>
                  </a:cubicBezTo>
                  <a:lnTo>
                    <a:pt x="394332" y="646291"/>
                  </a:lnTo>
                  <a:lnTo>
                    <a:pt x="213084" y="736915"/>
                  </a:lnTo>
                  <a:cubicBezTo>
                    <a:pt x="205930" y="741685"/>
                    <a:pt x="196390" y="744070"/>
                    <a:pt x="186851" y="744070"/>
                  </a:cubicBezTo>
                  <a:cubicBezTo>
                    <a:pt x="172542" y="744070"/>
                    <a:pt x="160618" y="739300"/>
                    <a:pt x="151078" y="732145"/>
                  </a:cubicBezTo>
                  <a:cubicBezTo>
                    <a:pt x="132000" y="717836"/>
                    <a:pt x="122461" y="696373"/>
                    <a:pt x="127230" y="674909"/>
                  </a:cubicBezTo>
                  <a:lnTo>
                    <a:pt x="160618" y="479353"/>
                  </a:lnTo>
                  <a:lnTo>
                    <a:pt x="17528" y="341032"/>
                  </a:lnTo>
                  <a:cubicBezTo>
                    <a:pt x="834" y="326723"/>
                    <a:pt x="-3936" y="302874"/>
                    <a:pt x="3219" y="281411"/>
                  </a:cubicBezTo>
                  <a:cubicBezTo>
                    <a:pt x="10373" y="259948"/>
                    <a:pt x="29452" y="243253"/>
                    <a:pt x="50916" y="240869"/>
                  </a:cubicBezTo>
                  <a:lnTo>
                    <a:pt x="246472" y="212251"/>
                  </a:lnTo>
                  <a:lnTo>
                    <a:pt x="334711" y="33388"/>
                  </a:lnTo>
                  <a:cubicBezTo>
                    <a:pt x="344250" y="11924"/>
                    <a:pt x="365714" y="0"/>
                    <a:pt x="387178" y="0"/>
                  </a:cubicBezTo>
                  <a:close/>
                </a:path>
              </a:pathLst>
            </a:cu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 dirty="0"/>
            </a:p>
          </p:txBody>
        </p:sp>
        <p:sp>
          <p:nvSpPr>
            <p:cNvPr id="190" name="Овал 189">
              <a:extLst>
                <a:ext uri="{FF2B5EF4-FFF2-40B4-BE49-F238E27FC236}">
                  <a16:creationId xmlns:a16="http://schemas.microsoft.com/office/drawing/2014/main" id="{D9FA3957-8EEB-CC4F-A3B8-5C787FF2E52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422100" y="4018584"/>
              <a:ext cx="1078554" cy="1080000"/>
            </a:xfrm>
            <a:prstGeom prst="ellipse">
              <a:avLst/>
            </a:prstGeom>
            <a:noFill/>
            <a:ln w="1016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18" name="Текст 2">
            <a:extLst>
              <a:ext uri="{FF2B5EF4-FFF2-40B4-BE49-F238E27FC236}">
                <a16:creationId xmlns:a16="http://schemas.microsoft.com/office/drawing/2014/main" id="{6F704CAC-5856-5047-9653-E1C825CF31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4C54C9B4-DE9E-7541-ABDE-00C5E6D1E623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C3DA0209-4E56-5949-AB3E-B584195AAA78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7043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ы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E898A1B-0441-FF49-BF91-E55F48CBB7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AE898A1B-0441-FF49-BF91-E55F48CBB7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E823468D-8EE1-1043-8933-8DFE1FA7BD1B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062267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B11F5C4-C9AA-4A48-8171-7867F8EF8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Текст 4">
            <a:extLst>
              <a:ext uri="{FF2B5EF4-FFF2-40B4-BE49-F238E27FC236}">
                <a16:creationId xmlns:a16="http://schemas.microsoft.com/office/drawing/2014/main" id="{708B971F-3431-8343-970C-119F9B8E97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8515" y="1742133"/>
            <a:ext cx="5277485" cy="3719461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28000" b="1">
                <a:solidFill>
                  <a:schemeClr val="accent1">
                    <a:alpha val="3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Заголовок 16">
            <a:extLst>
              <a:ext uri="{FF2B5EF4-FFF2-40B4-BE49-F238E27FC236}">
                <a16:creationId xmlns:a16="http://schemas.microsoft.com/office/drawing/2014/main" id="{613E94BC-CCEB-784A-9FA5-B53A8B79B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4" y="4345936"/>
            <a:ext cx="7269418" cy="1263213"/>
          </a:xfrm>
        </p:spPr>
        <p:txBody>
          <a:bodyPr vert="horz" lIns="0" tIns="0" rIns="0" bIns="0" anchor="t">
            <a:normAutofit/>
          </a:bodyPr>
          <a:lstStyle>
            <a:lvl1pPr>
              <a:defRPr sz="40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71E0D75-1C9A-D94E-8A7E-42607AF206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3C7EEA3C-D68A-5A41-9D32-181E2305EDAA}"/>
              </a:ext>
            </a:extLst>
          </p:cNvPr>
          <p:cNvGrpSpPr/>
          <p:nvPr userDrawn="1"/>
        </p:nvGrpSpPr>
        <p:grpSpPr>
          <a:xfrm>
            <a:off x="227165" y="4390517"/>
            <a:ext cx="361110" cy="371578"/>
            <a:chOff x="383279" y="3833472"/>
            <a:chExt cx="361110" cy="371578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2FBFD15A-7232-634E-B5E0-140D0D8906EC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22DEB5DA-DC02-B243-96C3-83890778DED2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319414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Мастер-слайд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lIns="0" tIns="0" rIns="0" bIns="0" anchor="t">
            <a:norm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1FC1B4EF-64D7-894B-8937-1E4CB50F3D07}"/>
              </a:ext>
            </a:extLst>
          </p:cNvPr>
          <p:cNvSpPr txBox="1"/>
          <p:nvPr userDrawn="1"/>
        </p:nvSpPr>
        <p:spPr>
          <a:xfrm>
            <a:off x="11049960" y="6468340"/>
            <a:ext cx="338765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r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25280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1/2 заливки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D93B0A69-B7D5-5A48-ADC3-AB1A9D78FC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D93B0A69-B7D5-5A48-ADC3-AB1A9D78FC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B25FCF0-2689-E740-92E7-6F6AA6DD9764}"/>
              </a:ext>
            </a:extLst>
          </p:cNvPr>
          <p:cNvGrpSpPr/>
          <p:nvPr userDrawn="1"/>
        </p:nvGrpSpPr>
        <p:grpSpPr>
          <a:xfrm>
            <a:off x="5330559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13" name="Полилиния 12">
            <a:extLst>
              <a:ext uri="{FF2B5EF4-FFF2-40B4-BE49-F238E27FC236}">
                <a16:creationId xmlns:a16="http://schemas.microsoft.com/office/drawing/2014/main" id="{7987E582-CD0D-4546-B723-8831CB5C99C4}"/>
              </a:ext>
            </a:extLst>
          </p:cNvPr>
          <p:cNvSpPr/>
          <p:nvPr userDrawn="1"/>
        </p:nvSpPr>
        <p:spPr>
          <a:xfrm>
            <a:off x="5546360" y="0"/>
            <a:ext cx="6645640" cy="6858000"/>
          </a:xfrm>
          <a:custGeom>
            <a:avLst/>
            <a:gdLst>
              <a:gd name="connsiteX0" fmla="*/ 0 w 6645640"/>
              <a:gd name="connsiteY0" fmla="*/ 0 h 6858000"/>
              <a:gd name="connsiteX1" fmla="*/ 1315082 w 6645640"/>
              <a:gd name="connsiteY1" fmla="*/ 0 h 6858000"/>
              <a:gd name="connsiteX2" fmla="*/ 5292944 w 6645640"/>
              <a:gd name="connsiteY2" fmla="*/ 0 h 6858000"/>
              <a:gd name="connsiteX3" fmla="*/ 6645640 w 6645640"/>
              <a:gd name="connsiteY3" fmla="*/ 0 h 6858000"/>
              <a:gd name="connsiteX4" fmla="*/ 6645640 w 6645640"/>
              <a:gd name="connsiteY4" fmla="*/ 6858000 h 6858000"/>
              <a:gd name="connsiteX5" fmla="*/ 6600669 w 6645640"/>
              <a:gd name="connsiteY5" fmla="*/ 6858000 h 6858000"/>
              <a:gd name="connsiteX6" fmla="*/ 1315082 w 6645640"/>
              <a:gd name="connsiteY6" fmla="*/ 6858000 h 6858000"/>
              <a:gd name="connsiteX7" fmla="*/ 1307725 w 66456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45640" h="6858000">
                <a:moveTo>
                  <a:pt x="0" y="0"/>
                </a:moveTo>
                <a:lnTo>
                  <a:pt x="1315082" y="0"/>
                </a:lnTo>
                <a:lnTo>
                  <a:pt x="5292944" y="0"/>
                </a:lnTo>
                <a:lnTo>
                  <a:pt x="6645640" y="0"/>
                </a:lnTo>
                <a:lnTo>
                  <a:pt x="6645640" y="6858000"/>
                </a:lnTo>
                <a:lnTo>
                  <a:pt x="6600669" y="6858000"/>
                </a:lnTo>
                <a:lnTo>
                  <a:pt x="1315082" y="6858000"/>
                </a:lnTo>
                <a:lnTo>
                  <a:pt x="1307725" y="685800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98779D95-B861-1543-B81B-A8E80358A34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6" name="Заголовок 16">
            <a:extLst>
              <a:ext uri="{FF2B5EF4-FFF2-40B4-BE49-F238E27FC236}">
                <a16:creationId xmlns:a16="http://schemas.microsoft.com/office/drawing/2014/main" id="{AB1AEA3B-AC4B-E140-9340-6B454EBD06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7" y="402822"/>
            <a:ext cx="4414972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25578347-EE4A-9C43-90AD-D7FA8D7FED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5279473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78040010-421A-6B44-97A4-119E862C416B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6B3FAD98-8606-774A-A4A8-3920B0033A14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2EFB1FC0-4632-CE42-883F-35F2AF32BA5A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tx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24167949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1/3 залив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B10BD2F5-DFF1-F341-88B5-9F4DB6B58E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B10BD2F5-DFF1-F341-88B5-9F4DB6B58E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олилиния 15">
            <a:extLst>
              <a:ext uri="{FF2B5EF4-FFF2-40B4-BE49-F238E27FC236}">
                <a16:creationId xmlns:a16="http://schemas.microsoft.com/office/drawing/2014/main" id="{12528276-D9FD-794D-8243-88ED659A47E0}"/>
              </a:ext>
            </a:extLst>
          </p:cNvPr>
          <p:cNvSpPr/>
          <p:nvPr userDrawn="1"/>
        </p:nvSpPr>
        <p:spPr>
          <a:xfrm>
            <a:off x="7291725" y="0"/>
            <a:ext cx="4900275" cy="6858000"/>
          </a:xfrm>
          <a:custGeom>
            <a:avLst/>
            <a:gdLst>
              <a:gd name="connsiteX0" fmla="*/ 0 w 4900275"/>
              <a:gd name="connsiteY0" fmla="*/ 0 h 6858000"/>
              <a:gd name="connsiteX1" fmla="*/ 1315082 w 4900275"/>
              <a:gd name="connsiteY1" fmla="*/ 0 h 6858000"/>
              <a:gd name="connsiteX2" fmla="*/ 4900275 w 4900275"/>
              <a:gd name="connsiteY2" fmla="*/ 0 h 6858000"/>
              <a:gd name="connsiteX3" fmla="*/ 4900275 w 4900275"/>
              <a:gd name="connsiteY3" fmla="*/ 6858000 h 6858000"/>
              <a:gd name="connsiteX4" fmla="*/ 1315082 w 4900275"/>
              <a:gd name="connsiteY4" fmla="*/ 6858000 h 6858000"/>
              <a:gd name="connsiteX5" fmla="*/ 1307725 w 4900275"/>
              <a:gd name="connsiteY5" fmla="*/ 6858000 h 6858000"/>
              <a:gd name="connsiteX6" fmla="*/ 0 w 490027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00275" h="6858000">
                <a:moveTo>
                  <a:pt x="0" y="0"/>
                </a:moveTo>
                <a:lnTo>
                  <a:pt x="1315082" y="0"/>
                </a:lnTo>
                <a:lnTo>
                  <a:pt x="4900275" y="0"/>
                </a:lnTo>
                <a:lnTo>
                  <a:pt x="4900275" y="6858000"/>
                </a:lnTo>
                <a:lnTo>
                  <a:pt x="1315082" y="6858000"/>
                </a:lnTo>
                <a:lnTo>
                  <a:pt x="1307725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B25FCF0-2689-E740-92E7-6F6AA6DD9764}"/>
              </a:ext>
            </a:extLst>
          </p:cNvPr>
          <p:cNvGrpSpPr/>
          <p:nvPr userDrawn="1"/>
        </p:nvGrpSpPr>
        <p:grpSpPr>
          <a:xfrm>
            <a:off x="7069412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22F8ADA-2B0C-1C4C-9161-28646326D5B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4" name="Заголовок 16">
            <a:extLst>
              <a:ext uri="{FF2B5EF4-FFF2-40B4-BE49-F238E27FC236}">
                <a16:creationId xmlns:a16="http://schemas.microsoft.com/office/drawing/2014/main" id="{0D0FF622-0622-C34A-80BB-EF8A7970B4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6153825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5BBE7582-2D3B-AE4F-B4B8-924A7A1851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BDE6E614-9769-B047-B502-A37F9A43E332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B3F9E8E8-0001-B143-8B76-58D480FDF88A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78050CC4-9818-2B4B-9B29-EB72E82CD3D9}"/>
              </a:ext>
            </a:extLst>
          </p:cNvPr>
          <p:cNvSpPr/>
          <p:nvPr userDrawn="1"/>
        </p:nvSpPr>
        <p:spPr>
          <a:xfrm>
            <a:off x="8674440" y="6403462"/>
            <a:ext cx="236203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39760879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1/3 заливки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2FEFCD2D-F76E-834A-A99F-E36DD0B636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2FEFCD2D-F76E-834A-A99F-E36DD0B636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олилиния 15">
            <a:extLst>
              <a:ext uri="{FF2B5EF4-FFF2-40B4-BE49-F238E27FC236}">
                <a16:creationId xmlns:a16="http://schemas.microsoft.com/office/drawing/2014/main" id="{12528276-D9FD-794D-8243-88ED659A47E0}"/>
              </a:ext>
            </a:extLst>
          </p:cNvPr>
          <p:cNvSpPr/>
          <p:nvPr userDrawn="1"/>
        </p:nvSpPr>
        <p:spPr>
          <a:xfrm>
            <a:off x="7291725" y="0"/>
            <a:ext cx="4900275" cy="6858000"/>
          </a:xfrm>
          <a:custGeom>
            <a:avLst/>
            <a:gdLst>
              <a:gd name="connsiteX0" fmla="*/ 0 w 4900275"/>
              <a:gd name="connsiteY0" fmla="*/ 0 h 6858000"/>
              <a:gd name="connsiteX1" fmla="*/ 1315082 w 4900275"/>
              <a:gd name="connsiteY1" fmla="*/ 0 h 6858000"/>
              <a:gd name="connsiteX2" fmla="*/ 4900275 w 4900275"/>
              <a:gd name="connsiteY2" fmla="*/ 0 h 6858000"/>
              <a:gd name="connsiteX3" fmla="*/ 4900275 w 4900275"/>
              <a:gd name="connsiteY3" fmla="*/ 6858000 h 6858000"/>
              <a:gd name="connsiteX4" fmla="*/ 1315082 w 4900275"/>
              <a:gd name="connsiteY4" fmla="*/ 6858000 h 6858000"/>
              <a:gd name="connsiteX5" fmla="*/ 1307725 w 4900275"/>
              <a:gd name="connsiteY5" fmla="*/ 6858000 h 6858000"/>
              <a:gd name="connsiteX6" fmla="*/ 0 w 490027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00275" h="6858000">
                <a:moveTo>
                  <a:pt x="0" y="0"/>
                </a:moveTo>
                <a:lnTo>
                  <a:pt x="1315082" y="0"/>
                </a:lnTo>
                <a:lnTo>
                  <a:pt x="4900275" y="0"/>
                </a:lnTo>
                <a:lnTo>
                  <a:pt x="4900275" y="6858000"/>
                </a:lnTo>
                <a:lnTo>
                  <a:pt x="1315082" y="6858000"/>
                </a:lnTo>
                <a:lnTo>
                  <a:pt x="1307725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B25FCF0-2689-E740-92E7-6F6AA6DD9764}"/>
              </a:ext>
            </a:extLst>
          </p:cNvPr>
          <p:cNvGrpSpPr/>
          <p:nvPr userDrawn="1"/>
        </p:nvGrpSpPr>
        <p:grpSpPr>
          <a:xfrm>
            <a:off x="7069412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7C9A01AC-E969-0844-9499-42C4193DE99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5" name="Заголовок 16">
            <a:extLst>
              <a:ext uri="{FF2B5EF4-FFF2-40B4-BE49-F238E27FC236}">
                <a16:creationId xmlns:a16="http://schemas.microsoft.com/office/drawing/2014/main" id="{4035D7B3-4854-5943-9D99-7DC8694E7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6153825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7" name="Текст 2">
            <a:extLst>
              <a:ext uri="{FF2B5EF4-FFF2-40B4-BE49-F238E27FC236}">
                <a16:creationId xmlns:a16="http://schemas.microsoft.com/office/drawing/2014/main" id="{833A1594-EA2F-AF4C-A860-A78F7DBA415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67E09A19-A0FF-3D48-BCF1-47225CD7CB26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6E705500-A378-A74D-8862-0093F4107710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DE358150-9FBD-C74B-8887-FFB860C2E3BC}"/>
              </a:ext>
            </a:extLst>
          </p:cNvPr>
          <p:cNvSpPr/>
          <p:nvPr userDrawn="1"/>
        </p:nvSpPr>
        <p:spPr>
          <a:xfrm>
            <a:off x="8674440" y="6403462"/>
            <a:ext cx="236203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tx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1898531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2/3 залив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D53ADF0-C1DC-8E47-A4C4-7F636F65AE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ED53ADF0-C1DC-8E47-A4C4-7F636F65AE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олилиния 12">
            <a:extLst>
              <a:ext uri="{FF2B5EF4-FFF2-40B4-BE49-F238E27FC236}">
                <a16:creationId xmlns:a16="http://schemas.microsoft.com/office/drawing/2014/main" id="{38DBFD21-2ABB-7742-A243-91032BE024AF}"/>
              </a:ext>
            </a:extLst>
          </p:cNvPr>
          <p:cNvSpPr/>
          <p:nvPr userDrawn="1"/>
        </p:nvSpPr>
        <p:spPr>
          <a:xfrm rot="5400000">
            <a:off x="4208248" y="-1101253"/>
            <a:ext cx="6882498" cy="9085006"/>
          </a:xfrm>
          <a:custGeom>
            <a:avLst/>
            <a:gdLst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75352 w 6858000"/>
              <a:gd name="connsiteY4" fmla="*/ 7944464 h 9085006"/>
              <a:gd name="connsiteX5" fmla="*/ 0 w 6858000"/>
              <a:gd name="connsiteY5" fmla="*/ 9085006 h 9085006"/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14392 w 6858000"/>
              <a:gd name="connsiteY4" fmla="*/ 7913984 h 9085006"/>
              <a:gd name="connsiteX5" fmla="*/ 0 w 6858000"/>
              <a:gd name="connsiteY5" fmla="*/ 9085006 h 9085006"/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28906 w 6858000"/>
              <a:gd name="connsiteY4" fmla="*/ 8138955 h 9085006"/>
              <a:gd name="connsiteX5" fmla="*/ 0 w 6858000"/>
              <a:gd name="connsiteY5" fmla="*/ 9085006 h 9085006"/>
              <a:gd name="connsiteX0" fmla="*/ 0 w 6882493"/>
              <a:gd name="connsiteY0" fmla="*/ 9085006 h 9085006"/>
              <a:gd name="connsiteX1" fmla="*/ 0 w 6882493"/>
              <a:gd name="connsiteY1" fmla="*/ 0 h 9085006"/>
              <a:gd name="connsiteX2" fmla="*/ 6858000 w 6882493"/>
              <a:gd name="connsiteY2" fmla="*/ 0 h 9085006"/>
              <a:gd name="connsiteX3" fmla="*/ 6882493 w 6882493"/>
              <a:gd name="connsiteY3" fmla="*/ 9070911 h 9085006"/>
              <a:gd name="connsiteX4" fmla="*/ 3428906 w 6882493"/>
              <a:gd name="connsiteY4" fmla="*/ 8138955 h 9085006"/>
              <a:gd name="connsiteX5" fmla="*/ 0 w 6882493"/>
              <a:gd name="connsiteY5" fmla="*/ 9085006 h 9085006"/>
              <a:gd name="connsiteX0" fmla="*/ 0 w 6874331"/>
              <a:gd name="connsiteY0" fmla="*/ 9085006 h 9085006"/>
              <a:gd name="connsiteX1" fmla="*/ 0 w 6874331"/>
              <a:gd name="connsiteY1" fmla="*/ 0 h 9085006"/>
              <a:gd name="connsiteX2" fmla="*/ 6858000 w 6874331"/>
              <a:gd name="connsiteY2" fmla="*/ 0 h 9085006"/>
              <a:gd name="connsiteX3" fmla="*/ 6874331 w 6874331"/>
              <a:gd name="connsiteY3" fmla="*/ 9062747 h 9085006"/>
              <a:gd name="connsiteX4" fmla="*/ 3428906 w 6874331"/>
              <a:gd name="connsiteY4" fmla="*/ 8138955 h 9085006"/>
              <a:gd name="connsiteX5" fmla="*/ 0 w 6874331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28906 w 6882498"/>
              <a:gd name="connsiteY4" fmla="*/ 8138955 h 9085006"/>
              <a:gd name="connsiteX5" fmla="*/ 0 w 6882498"/>
              <a:gd name="connsiteY5" fmla="*/ 9085006 h 9085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82498" h="9085006">
                <a:moveTo>
                  <a:pt x="0" y="9085006"/>
                </a:moveTo>
                <a:lnTo>
                  <a:pt x="0" y="0"/>
                </a:lnTo>
                <a:lnTo>
                  <a:pt x="6858000" y="0"/>
                </a:lnTo>
                <a:cubicBezTo>
                  <a:pt x="6866164" y="3023637"/>
                  <a:pt x="6874334" y="6055439"/>
                  <a:pt x="6882498" y="9079076"/>
                </a:cubicBezTo>
                <a:lnTo>
                  <a:pt x="3428906" y="8138955"/>
                </a:lnTo>
                <a:lnTo>
                  <a:pt x="0" y="9085006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324F3D68-6BA1-3C4E-B14B-2DD63721CC9D}"/>
              </a:ext>
            </a:extLst>
          </p:cNvPr>
          <p:cNvGrpSpPr/>
          <p:nvPr userDrawn="1"/>
        </p:nvGrpSpPr>
        <p:grpSpPr>
          <a:xfrm>
            <a:off x="2924849" y="0"/>
            <a:ext cx="1127505" cy="6876000"/>
            <a:chOff x="3945699" y="0"/>
            <a:chExt cx="1127505" cy="6876000"/>
          </a:xfrm>
        </p:grpSpPr>
        <p:sp>
          <p:nvSpPr>
            <p:cNvPr id="15" name="Нашивка 14">
              <a:extLst>
                <a:ext uri="{FF2B5EF4-FFF2-40B4-BE49-F238E27FC236}">
                  <a16:creationId xmlns:a16="http://schemas.microsoft.com/office/drawing/2014/main" id="{808772EC-E4D1-1547-ADF5-594B1C5CB222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C29642E3-0970-7C4E-B9EE-C3273F54635C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614FCD43-419A-B847-B117-C99536C7969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4E21FC6F-C1D8-BF4D-97D3-976B84D8ED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2018961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85172B85-A0CD-B24A-BCAB-B123A1C8D0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2026007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2AA9D97E-1EC3-F048-9CFD-F35F05BBC11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C7E800E7-478C-864A-B25F-4096900EE66F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879BC661-EAD1-CC4D-A34C-194D61B0BA83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5484846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261D4D59-CE6F-8946-8CEC-CFA017835E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6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Слайд think-cell" r:id="rId57" imgW="7772400" imgH="10058400" progId="TCLayout.ActiveDocument.1">
                  <p:embed/>
                </p:oleObj>
              </mc:Choice>
              <mc:Fallback>
                <p:oleObj name="Слайд think-cell" r:id="rId57" imgW="7772400" imgH="10058400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261D4D59-CE6F-8946-8CEC-CFA017835E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231664-1E76-6F48-B95F-1623FC4BAD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37504A0-B12C-F547-9F37-CD4801EB73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7A8C393-4B6E-B244-A9AE-C2BE3E519C6D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C382E046-203B-AE4C-B16E-8F7BEB498396}"/>
              </a:ext>
            </a:extLst>
          </p:cNvPr>
          <p:cNvCxnSpPr>
            <a:cxnSpLocks/>
          </p:cNvCxnSpPr>
          <p:nvPr userDrawn="1"/>
        </p:nvCxnSpPr>
        <p:spPr>
          <a:xfrm>
            <a:off x="11104840" y="6460250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5281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  <p:sldLayoutId id="2147483707" r:id="rId46"/>
    <p:sldLayoutId id="2147483708" r:id="rId47"/>
    <p:sldLayoutId id="2147483709" r:id="rId48"/>
    <p:sldLayoutId id="2147483710" r:id="rId49"/>
    <p:sldLayoutId id="2147483711" r:id="rId50"/>
    <p:sldLayoutId id="2147483712" r:id="rId51"/>
    <p:sldLayoutId id="2147483713" r:id="rId52"/>
    <p:sldLayoutId id="2147483714" r:id="rId5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6">
          <p15:clr>
            <a:srgbClr val="F26B43"/>
          </p15:clr>
        </p15:guide>
        <p15:guide id="2" pos="7174">
          <p15:clr>
            <a:srgbClr val="F26B43"/>
          </p15:clr>
        </p15:guide>
        <p15:guide id="3" orient="horz" pos="686">
          <p15:clr>
            <a:srgbClr val="F26B43"/>
          </p15:clr>
        </p15:guide>
        <p15:guide id="4" orient="horz" pos="3906">
          <p15:clr>
            <a:srgbClr val="F26B43"/>
          </p15:clr>
        </p15:guide>
        <p15:guide id="6" orient="horz" pos="8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49.png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48.jpg"/><Relationship Id="rId5" Type="http://schemas.openxmlformats.org/officeDocument/2006/relationships/image" Target="../media/image47.emf"/><Relationship Id="rId4" Type="http://schemas.openxmlformats.org/officeDocument/2006/relationships/oleObject" Target="../embeddings/oleObject46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51.emf"/><Relationship Id="rId5" Type="http://schemas.openxmlformats.org/officeDocument/2006/relationships/image" Target="../media/image50.emf"/><Relationship Id="rId4" Type="http://schemas.openxmlformats.org/officeDocument/2006/relationships/oleObject" Target="../embeddings/oleObject47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51.emf"/><Relationship Id="rId5" Type="http://schemas.openxmlformats.org/officeDocument/2006/relationships/image" Target="../media/image50.emf"/><Relationship Id="rId4" Type="http://schemas.openxmlformats.org/officeDocument/2006/relationships/oleObject" Target="../embeddings/oleObject49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51.emf"/><Relationship Id="rId5" Type="http://schemas.openxmlformats.org/officeDocument/2006/relationships/image" Target="../media/image50.emf"/><Relationship Id="rId4" Type="http://schemas.openxmlformats.org/officeDocument/2006/relationships/oleObject" Target="../embeddings/oleObject47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51.emf"/><Relationship Id="rId5" Type="http://schemas.openxmlformats.org/officeDocument/2006/relationships/image" Target="../media/image50.emf"/><Relationship Id="rId4" Type="http://schemas.openxmlformats.org/officeDocument/2006/relationships/oleObject" Target="../embeddings/oleObject47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57.emf"/><Relationship Id="rId4" Type="http://schemas.openxmlformats.org/officeDocument/2006/relationships/oleObject" Target="../embeddings/oleObject5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51.emf"/><Relationship Id="rId5" Type="http://schemas.openxmlformats.org/officeDocument/2006/relationships/image" Target="../media/image50.emf"/><Relationship Id="rId4" Type="http://schemas.openxmlformats.org/officeDocument/2006/relationships/oleObject" Target="../embeddings/oleObject4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2.png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51.emf"/><Relationship Id="rId5" Type="http://schemas.openxmlformats.org/officeDocument/2006/relationships/image" Target="../media/image50.emf"/><Relationship Id="rId4" Type="http://schemas.openxmlformats.org/officeDocument/2006/relationships/oleObject" Target="../embeddings/oleObject47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51.emf"/><Relationship Id="rId11" Type="http://schemas.microsoft.com/office/2007/relationships/diagramDrawing" Target="../diagrams/drawing1.xml"/><Relationship Id="rId5" Type="http://schemas.openxmlformats.org/officeDocument/2006/relationships/image" Target="../media/image50.emf"/><Relationship Id="rId10" Type="http://schemas.openxmlformats.org/officeDocument/2006/relationships/diagramColors" Target="../diagrams/colors1.xml"/><Relationship Id="rId4" Type="http://schemas.openxmlformats.org/officeDocument/2006/relationships/oleObject" Target="../embeddings/oleObject47.bin"/><Relationship Id="rId9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3.png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51.emf"/><Relationship Id="rId5" Type="http://schemas.openxmlformats.org/officeDocument/2006/relationships/image" Target="../media/image50.emf"/><Relationship Id="rId4" Type="http://schemas.openxmlformats.org/officeDocument/2006/relationships/oleObject" Target="../embeddings/oleObject4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4.png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51.emf"/><Relationship Id="rId5" Type="http://schemas.openxmlformats.org/officeDocument/2006/relationships/image" Target="../media/image50.emf"/><Relationship Id="rId4" Type="http://schemas.openxmlformats.org/officeDocument/2006/relationships/oleObject" Target="../embeddings/oleObject4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5.png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51.emf"/><Relationship Id="rId5" Type="http://schemas.openxmlformats.org/officeDocument/2006/relationships/image" Target="../media/image50.emf"/><Relationship Id="rId4" Type="http://schemas.openxmlformats.org/officeDocument/2006/relationships/oleObject" Target="../embeddings/oleObject4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51.emf"/><Relationship Id="rId5" Type="http://schemas.openxmlformats.org/officeDocument/2006/relationships/image" Target="../media/image50.emf"/><Relationship Id="rId4" Type="http://schemas.openxmlformats.org/officeDocument/2006/relationships/oleObject" Target="../embeddings/oleObject4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6.png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51.emf"/><Relationship Id="rId5" Type="http://schemas.openxmlformats.org/officeDocument/2006/relationships/image" Target="../media/image50.emf"/><Relationship Id="rId4" Type="http://schemas.openxmlformats.org/officeDocument/2006/relationships/oleObject" Target="../embeddings/oleObject4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3649D091-40E5-7441-BED7-7A51A8BF47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1593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3649D091-40E5-7441-BED7-7A51A8BF47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49365D1D-0AB4-0B4A-836F-929F7C7B5C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33" y="2227124"/>
            <a:ext cx="5290042" cy="3231654"/>
          </a:xfrm>
        </p:spPr>
        <p:txBody>
          <a:bodyPr vert="horz" wrap="square" anchor="ctr">
            <a:spAutoFit/>
          </a:bodyPr>
          <a:lstStyle/>
          <a:p>
            <a:r>
              <a:rPr lang="ru-RU" sz="2400" dirty="0"/>
              <a:t>«Трансформация системы производственного планирования</a:t>
            </a:r>
            <a:br>
              <a:rPr lang="ru-RU" sz="2400" dirty="0"/>
            </a:br>
            <a:r>
              <a:rPr lang="ru-RU" sz="2400" dirty="0"/>
              <a:t>АО «КЗОЦМ», как элемент стратегического развития организации» 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sz="1800" dirty="0"/>
              <a:t>Выполнил: слушатель А.А. Агафонов</a:t>
            </a:r>
            <a:br>
              <a:rPr lang="ru-RU" sz="1800" dirty="0"/>
            </a:br>
            <a:r>
              <a:rPr lang="ru-RU" sz="1800" dirty="0"/>
              <a:t/>
            </a:r>
            <a:br>
              <a:rPr lang="ru-RU" sz="1800" dirty="0"/>
            </a:br>
            <a:r>
              <a:rPr lang="ru-RU" sz="1800" dirty="0"/>
              <a:t>Руководитель: Е.В. Ганебных</a:t>
            </a:r>
            <a:endParaRPr lang="ru-RU" sz="3200" dirty="0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7EB7BEA4-16CC-7144-9808-E5695F4068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38299" y="5361144"/>
            <a:ext cx="1061573" cy="604676"/>
          </a:xfrm>
        </p:spPr>
        <p:txBody>
          <a:bodyPr/>
          <a:lstStyle/>
          <a:p>
            <a:r>
              <a:rPr lang="ru-RU" dirty="0"/>
              <a:t>Ноябрь, 2023 г</a:t>
            </a:r>
          </a:p>
        </p:txBody>
      </p:sp>
      <p:pic>
        <p:nvPicPr>
          <p:cNvPr id="6" name="Рисунок 5"/>
          <p:cNvPicPr>
            <a:picLocks noGrp="1" noChangeAspect="1"/>
          </p:cNvPicPr>
          <p:nvPr>
            <p:ph type="pic" sz="quarter" idx="13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21" r="20021"/>
          <a:stretch>
            <a:fillRect/>
          </a:stretch>
        </p:blipFill>
        <p:spPr/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4A36707F-7C44-224A-98FF-EB7A553A13D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69248" t="-1" r="17319" b="77007"/>
          <a:stretch/>
        </p:blipFill>
        <p:spPr>
          <a:xfrm>
            <a:off x="810476" y="173084"/>
            <a:ext cx="1455646" cy="1421276"/>
          </a:xfrm>
          <a:prstGeom prst="rect">
            <a:avLst/>
          </a:prstGeom>
          <a:gradFill>
            <a:gsLst>
              <a:gs pos="1000">
                <a:srgbClr val="90222B"/>
              </a:gs>
              <a:gs pos="100000">
                <a:srgbClr val="A3382C"/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rgbClr val="B05C28"/>
              </a:gs>
            </a:gsLst>
            <a:lin ang="2700000" scaled="0"/>
          </a:gradFill>
        </p:spPr>
      </p:pic>
    </p:spTree>
    <p:extLst>
      <p:ext uri="{BB962C8B-B14F-4D97-AF65-F5344CB8AC3E}">
        <p14:creationId xmlns:p14="http://schemas.microsoft.com/office/powerpoint/2010/main" val="4841903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9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332399"/>
          </a:xfrm>
        </p:spPr>
        <p:txBody>
          <a:bodyPr vert="horz"/>
          <a:lstStyle/>
          <a:p>
            <a:r>
              <a:rPr lang="ru-RU" dirty="0">
                <a:latin typeface="+mj-lt"/>
              </a:rPr>
              <a:t>Риски, оказывающие влияние на реализацию проекта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10162817" y="117563"/>
            <a:ext cx="1339703" cy="873832"/>
            <a:chOff x="10162817" y="117563"/>
            <a:chExt cx="1339703" cy="873832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10162817" y="117563"/>
              <a:ext cx="1339703" cy="87383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90000" rIns="46800" bIns="46800" rtlCol="0" anchor="t"/>
            <a:lstStyle/>
            <a:p>
              <a:pPr algn="l"/>
              <a:endParaRPr lang="en-US" sz="1200" dirty="0">
                <a:solidFill>
                  <a:schemeClr val="tx1"/>
                </a:solidFill>
              </a:endParaRPr>
            </a:p>
          </p:txBody>
        </p:sp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543430" y="168388"/>
              <a:ext cx="767558" cy="783532"/>
            </a:xfrm>
            <a:prstGeom prst="rect">
              <a:avLst/>
            </a:prstGeom>
          </p:spPr>
        </p:pic>
      </p:grpSp>
      <p:graphicFrame>
        <p:nvGraphicFramePr>
          <p:cNvPr id="14" name="Объект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76849351"/>
              </p:ext>
            </p:extLst>
          </p:nvPr>
        </p:nvGraphicFramePr>
        <p:xfrm>
          <a:off x="1031129" y="1177163"/>
          <a:ext cx="9905671" cy="48132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93802">
                  <a:extLst>
                    <a:ext uri="{9D8B030D-6E8A-4147-A177-3AD203B41FA5}">
                      <a16:colId xmlns:a16="http://schemas.microsoft.com/office/drawing/2014/main" val="3703311905"/>
                    </a:ext>
                  </a:extLst>
                </a:gridCol>
                <a:gridCol w="6549825">
                  <a:extLst>
                    <a:ext uri="{9D8B030D-6E8A-4147-A177-3AD203B41FA5}">
                      <a16:colId xmlns:a16="http://schemas.microsoft.com/office/drawing/2014/main" val="687109420"/>
                    </a:ext>
                  </a:extLst>
                </a:gridCol>
                <a:gridCol w="462044">
                  <a:extLst>
                    <a:ext uri="{9D8B030D-6E8A-4147-A177-3AD203B41FA5}">
                      <a16:colId xmlns:a16="http://schemas.microsoft.com/office/drawing/2014/main" val="1109195710"/>
                    </a:ext>
                  </a:extLst>
                </a:gridCol>
              </a:tblGrid>
              <a:tr h="803288">
                <a:tc gridSpan="3">
                  <a:txBody>
                    <a:bodyPr/>
                    <a:lstStyle/>
                    <a:p>
                      <a:r>
                        <a:rPr lang="ru-RU" sz="1600" b="0" kern="1200" dirty="0">
                          <a:solidFill>
                            <a:schemeClr val="bg1"/>
                          </a:solidFill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При реализации проекта трансформации системы производственного планирования можно столкнуться со следующими рисками:</a:t>
                      </a:r>
                    </a:p>
                    <a:p>
                      <a:endParaRPr lang="ru-RU" sz="1200" b="0" kern="1200" dirty="0">
                        <a:solidFill>
                          <a:schemeClr val="bg1"/>
                        </a:solidFill>
                        <a:latin typeface="+mn-lt"/>
                        <a:ea typeface="Roboto" panose="02000000000000000000" pitchFamily="2" charset="0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9050936"/>
                  </a:ext>
                </a:extLst>
              </a:tr>
              <a:tr h="326148"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Риск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Предлагаемое решение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b="0" kern="1200" dirty="0">
                        <a:solidFill>
                          <a:schemeClr val="bg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2226960"/>
                  </a:ext>
                </a:extLst>
              </a:tr>
              <a:tr h="1695965">
                <a:tc>
                  <a:txBody>
                    <a:bodyPr/>
                    <a:lstStyle/>
                    <a:p>
                      <a:pPr algn="ctr"/>
                      <a:r>
                        <a:rPr lang="ru-RU" sz="1200" b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Сопротивление изменениям</a:t>
                      </a:r>
                    </a:p>
                    <a:p>
                      <a:pPr algn="ctr"/>
                      <a:r>
                        <a:rPr lang="ru-RU" sz="1200" b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(изменение текущих условий планирования работы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Для исключения данного риска предлагается:</a:t>
                      </a:r>
                    </a:p>
                    <a:p>
                      <a:pPr marL="285750" indent="-200025">
                        <a:buFontTx/>
                        <a:buChar char="-"/>
                      </a:pPr>
                      <a:r>
                        <a:rPr lang="ru-RU" sz="1200" b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организовать рабочую группу; </a:t>
                      </a:r>
                    </a:p>
                    <a:p>
                      <a:pPr marL="285750" indent="-200025">
                        <a:buFontTx/>
                        <a:buChar char="-"/>
                      </a:pPr>
                      <a:r>
                        <a:rPr lang="ru-RU" sz="1200" b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разработать дорожную карту; </a:t>
                      </a:r>
                    </a:p>
                    <a:p>
                      <a:pPr marL="285750" indent="-200025">
                        <a:buFontTx/>
                        <a:buChar char="-"/>
                      </a:pPr>
                      <a:r>
                        <a:rPr lang="ru-RU" sz="1200" b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установить контрольные точки, сроки исполнения и ответственных;</a:t>
                      </a:r>
                    </a:p>
                    <a:p>
                      <a:pPr marL="285750" indent="-200025">
                        <a:buFontTx/>
                        <a:buChar char="-"/>
                      </a:pPr>
                      <a:r>
                        <a:rPr lang="ru-RU" sz="1200" b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обеспечить лидерство и единоначалие при реализации проекта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b="0" kern="1200" dirty="0">
                        <a:solidFill>
                          <a:schemeClr val="bg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2146852"/>
                  </a:ext>
                </a:extLst>
              </a:tr>
              <a:tr h="1205083">
                <a:tc>
                  <a:txBody>
                    <a:bodyPr/>
                    <a:lstStyle/>
                    <a:p>
                      <a:pPr algn="ctr"/>
                      <a:r>
                        <a:rPr lang="ru-RU" sz="1200" b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Недостаточная квалификация персонала для описания алгоритмов и разработки программного комплекса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Для написания программы могут быть привлечены специалисты IT-службы ОАО «УГМК» или сторонних организаций (на конкурсной основе) с последующим обучением персонала работе в новом программном комплексе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b="0" kern="1200" dirty="0">
                        <a:solidFill>
                          <a:schemeClr val="bg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5161389"/>
                  </a:ext>
                </a:extLst>
              </a:tr>
              <a:tr h="782753">
                <a:tc>
                  <a:txBody>
                    <a:bodyPr/>
                    <a:lstStyle/>
                    <a:p>
                      <a:pPr algn="ctr"/>
                      <a:r>
                        <a:rPr lang="ru-RU" sz="1200" b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Высокие затраты на реализацию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Для снижения влияния данного фактора необходимо разработать подробное техническое</a:t>
                      </a:r>
                      <a:r>
                        <a:rPr lang="ru-RU" sz="1200" b="0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 задание и</a:t>
                      </a:r>
                      <a:r>
                        <a:rPr lang="ru-RU" sz="1200" b="0" kern="1200" dirty="0">
                          <a:solidFill>
                            <a:sysClr val="windowText" lastClr="000000"/>
                          </a:solidFill>
                          <a:latin typeface="+mn-lt"/>
                          <a:ea typeface="Roboto" panose="02000000000000000000" pitchFamily="2" charset="0"/>
                          <a:cs typeface="+mn-cs"/>
                        </a:rPr>
                        <a:t> выполнить экономический расчёт по каждому этапу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b="0" kern="1200" dirty="0">
                        <a:solidFill>
                          <a:schemeClr val="bg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347659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81665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3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1150" y="171020"/>
            <a:ext cx="9072000" cy="664797"/>
          </a:xfrm>
        </p:spPr>
        <p:txBody>
          <a:bodyPr vert="horz"/>
          <a:lstStyle/>
          <a:p>
            <a:r>
              <a:rPr lang="ru-RU" dirty="0"/>
              <a:t>Разработка и совершенствование системы планирования производства</a:t>
            </a:r>
          </a:p>
        </p:txBody>
      </p:sp>
      <p:sp>
        <p:nvSpPr>
          <p:cNvPr id="8" name="Rectangle 199">
            <a:extLst>
              <a:ext uri="{FF2B5EF4-FFF2-40B4-BE49-F238E27FC236}">
                <a16:creationId xmlns:a16="http://schemas.microsoft.com/office/drawing/2014/main" id="{7DE3A86E-69BA-4CF3-8A8B-7621F95CA3BC}"/>
              </a:ext>
            </a:extLst>
          </p:cNvPr>
          <p:cNvSpPr>
            <a:spLocks/>
          </p:cNvSpPr>
          <p:nvPr/>
        </p:nvSpPr>
        <p:spPr bwMode="gray">
          <a:xfrm>
            <a:off x="8350781" y="1106397"/>
            <a:ext cx="3841219" cy="61920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6CDFB47-C8F8-4997-BD94-840582C3C5DB}"/>
              </a:ext>
            </a:extLst>
          </p:cNvPr>
          <p:cNvSpPr txBox="1">
            <a:spLocks/>
          </p:cNvSpPr>
          <p:nvPr/>
        </p:nvSpPr>
        <p:spPr bwMode="gray">
          <a:xfrm>
            <a:off x="8863193" y="1296422"/>
            <a:ext cx="1099957" cy="239159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sz="1600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ru-RU" sz="1600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600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ru-RU" sz="1600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600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ru-RU" sz="1100" b="1" dirty="0">
                <a:solidFill>
                  <a:schemeClr val="bg1"/>
                </a:solidFill>
                <a:sym typeface="+mn-lt"/>
              </a:rPr>
              <a:t>Ответственный</a:t>
            </a:r>
          </a:p>
          <a:p>
            <a:r>
              <a:rPr lang="ru-RU" sz="1100" b="1" dirty="0">
                <a:solidFill>
                  <a:schemeClr val="bg1"/>
                </a:solidFill>
                <a:sym typeface="+mn-lt"/>
              </a:rPr>
              <a:t>за реализацию</a:t>
            </a:r>
          </a:p>
        </p:txBody>
      </p:sp>
      <p:grpSp>
        <p:nvGrpSpPr>
          <p:cNvPr id="10" name="Group 4096">
            <a:extLst>
              <a:ext uri="{FF2B5EF4-FFF2-40B4-BE49-F238E27FC236}">
                <a16:creationId xmlns:a16="http://schemas.microsoft.com/office/drawing/2014/main" id="{F1B128FD-7C95-44EC-A855-06D624941174}"/>
              </a:ext>
            </a:extLst>
          </p:cNvPr>
          <p:cNvGrpSpPr/>
          <p:nvPr/>
        </p:nvGrpSpPr>
        <p:grpSpPr bwMode="gray">
          <a:xfrm>
            <a:off x="8445965" y="1248480"/>
            <a:ext cx="336803" cy="335042"/>
            <a:chOff x="545755" y="1066481"/>
            <a:chExt cx="542838" cy="540000"/>
          </a:xfrm>
        </p:grpSpPr>
        <p:sp>
          <p:nvSpPr>
            <p:cNvPr id="11" name="Freeform 208">
              <a:extLst>
                <a:ext uri="{FF2B5EF4-FFF2-40B4-BE49-F238E27FC236}">
                  <a16:creationId xmlns:a16="http://schemas.microsoft.com/office/drawing/2014/main" id="{0312A912-6C5A-4169-87EF-41CE879BCD8F}"/>
                </a:ext>
              </a:extLst>
            </p:cNvPr>
            <p:cNvSpPr>
              <a:spLocks/>
            </p:cNvSpPr>
            <p:nvPr/>
          </p:nvSpPr>
          <p:spPr bwMode="gray">
            <a:xfrm>
              <a:off x="886211" y="1388968"/>
              <a:ext cx="202382" cy="217513"/>
            </a:xfrm>
            <a:custGeom>
              <a:avLst/>
              <a:gdLst>
                <a:gd name="T0" fmla="*/ 71 w 71"/>
                <a:gd name="T1" fmla="*/ 77 h 77"/>
                <a:gd name="T2" fmla="*/ 46 w 71"/>
                <a:gd name="T3" fmla="*/ 21 h 77"/>
                <a:gd name="T4" fmla="*/ 0 w 71"/>
                <a:gd name="T5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1" h="77">
                  <a:moveTo>
                    <a:pt x="71" y="77"/>
                  </a:moveTo>
                  <a:cubicBezTo>
                    <a:pt x="71" y="77"/>
                    <a:pt x="71" y="34"/>
                    <a:pt x="46" y="2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latin typeface="+mn-lt"/>
                <a:sym typeface="+mn-lt"/>
              </a:endParaRPr>
            </a:p>
          </p:txBody>
        </p:sp>
        <p:sp>
          <p:nvSpPr>
            <p:cNvPr id="12" name="Freeform 209">
              <a:extLst>
                <a:ext uri="{FF2B5EF4-FFF2-40B4-BE49-F238E27FC236}">
                  <a16:creationId xmlns:a16="http://schemas.microsoft.com/office/drawing/2014/main" id="{D7EF0334-CD85-4CF2-8E95-BD4635BD2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755" y="1405990"/>
              <a:ext cx="167391" cy="200491"/>
            </a:xfrm>
            <a:custGeom>
              <a:avLst/>
              <a:gdLst>
                <a:gd name="T0" fmla="*/ 0 w 59"/>
                <a:gd name="T1" fmla="*/ 71 h 71"/>
                <a:gd name="T2" fmla="*/ 25 w 59"/>
                <a:gd name="T3" fmla="*/ 15 h 71"/>
                <a:gd name="T4" fmla="*/ 59 w 59"/>
                <a:gd name="T5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9" h="71">
                  <a:moveTo>
                    <a:pt x="0" y="71"/>
                  </a:moveTo>
                  <a:cubicBezTo>
                    <a:pt x="0" y="71"/>
                    <a:pt x="0" y="28"/>
                    <a:pt x="25" y="15"/>
                  </a:cubicBezTo>
                  <a:cubicBezTo>
                    <a:pt x="59" y="0"/>
                    <a:pt x="59" y="0"/>
                    <a:pt x="59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latin typeface="+mn-lt"/>
                <a:sym typeface="+mn-lt"/>
              </a:endParaRPr>
            </a:p>
          </p:txBody>
        </p:sp>
        <p:sp>
          <p:nvSpPr>
            <p:cNvPr id="13" name="Freeform 210">
              <a:extLst>
                <a:ext uri="{FF2B5EF4-FFF2-40B4-BE49-F238E27FC236}">
                  <a16:creationId xmlns:a16="http://schemas.microsoft.com/office/drawing/2014/main" id="{FBC22EB0-25D6-4EB5-82D1-5A64F2B730BF}"/>
                </a:ext>
              </a:extLst>
            </p:cNvPr>
            <p:cNvSpPr>
              <a:spLocks/>
            </p:cNvSpPr>
            <p:nvPr/>
          </p:nvSpPr>
          <p:spPr bwMode="gray">
            <a:xfrm>
              <a:off x="704634" y="1388968"/>
              <a:ext cx="85114" cy="113485"/>
            </a:xfrm>
            <a:custGeom>
              <a:avLst/>
              <a:gdLst>
                <a:gd name="T0" fmla="*/ 3 w 30"/>
                <a:gd name="T1" fmla="*/ 6 h 40"/>
                <a:gd name="T2" fmla="*/ 0 w 30"/>
                <a:gd name="T3" fmla="*/ 40 h 40"/>
                <a:gd name="T4" fmla="*/ 30 w 30"/>
                <a:gd name="T5" fmla="*/ 15 h 40"/>
                <a:gd name="T6" fmla="*/ 15 w 30"/>
                <a:gd name="T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40">
                  <a:moveTo>
                    <a:pt x="3" y="6"/>
                  </a:moveTo>
                  <a:cubicBezTo>
                    <a:pt x="0" y="40"/>
                    <a:pt x="0" y="40"/>
                    <a:pt x="0" y="40"/>
                  </a:cubicBezTo>
                  <a:cubicBezTo>
                    <a:pt x="24" y="34"/>
                    <a:pt x="30" y="15"/>
                    <a:pt x="30" y="15"/>
                  </a:cubicBezTo>
                  <a:cubicBezTo>
                    <a:pt x="18" y="12"/>
                    <a:pt x="15" y="0"/>
                    <a:pt x="15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latin typeface="+mn-lt"/>
                <a:sym typeface="+mn-lt"/>
              </a:endParaRPr>
            </a:p>
          </p:txBody>
        </p:sp>
        <p:sp>
          <p:nvSpPr>
            <p:cNvPr id="14" name="Freeform 211">
              <a:extLst>
                <a:ext uri="{FF2B5EF4-FFF2-40B4-BE49-F238E27FC236}">
                  <a16:creationId xmlns:a16="http://schemas.microsoft.com/office/drawing/2014/main" id="{1D7CA2EB-3A9F-45CC-BC44-C7F938C23DF5}"/>
                </a:ext>
              </a:extLst>
            </p:cNvPr>
            <p:cNvSpPr>
              <a:spLocks/>
            </p:cNvSpPr>
            <p:nvPr/>
          </p:nvSpPr>
          <p:spPr bwMode="gray">
            <a:xfrm>
              <a:off x="843654" y="1388968"/>
              <a:ext cx="87951" cy="113485"/>
            </a:xfrm>
            <a:custGeom>
              <a:avLst/>
              <a:gdLst>
                <a:gd name="T0" fmla="*/ 28 w 31"/>
                <a:gd name="T1" fmla="*/ 6 h 40"/>
                <a:gd name="T2" fmla="*/ 31 w 31"/>
                <a:gd name="T3" fmla="*/ 40 h 40"/>
                <a:gd name="T4" fmla="*/ 0 w 31"/>
                <a:gd name="T5" fmla="*/ 15 h 40"/>
                <a:gd name="T6" fmla="*/ 15 w 31"/>
                <a:gd name="T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40">
                  <a:moveTo>
                    <a:pt x="28" y="6"/>
                  </a:moveTo>
                  <a:cubicBezTo>
                    <a:pt x="31" y="40"/>
                    <a:pt x="31" y="40"/>
                    <a:pt x="31" y="40"/>
                  </a:cubicBezTo>
                  <a:cubicBezTo>
                    <a:pt x="6" y="34"/>
                    <a:pt x="0" y="15"/>
                    <a:pt x="0" y="15"/>
                  </a:cubicBezTo>
                  <a:cubicBezTo>
                    <a:pt x="12" y="12"/>
                    <a:pt x="15" y="0"/>
                    <a:pt x="15" y="0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latin typeface="+mn-lt"/>
                <a:sym typeface="+mn-lt"/>
              </a:endParaRPr>
            </a:p>
          </p:txBody>
        </p:sp>
        <p:sp>
          <p:nvSpPr>
            <p:cNvPr id="15" name="Freeform 212">
              <a:extLst>
                <a:ext uri="{FF2B5EF4-FFF2-40B4-BE49-F238E27FC236}">
                  <a16:creationId xmlns:a16="http://schemas.microsoft.com/office/drawing/2014/main" id="{B622A547-2880-4CF0-8DDA-D6964EBF79B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2725" y="1431525"/>
              <a:ext cx="87951" cy="174956"/>
            </a:xfrm>
            <a:custGeom>
              <a:avLst/>
              <a:gdLst>
                <a:gd name="T0" fmla="*/ 0 w 31"/>
                <a:gd name="T1" fmla="*/ 62 h 62"/>
                <a:gd name="T2" fmla="*/ 9 w 31"/>
                <a:gd name="T3" fmla="*/ 22 h 62"/>
                <a:gd name="T4" fmla="*/ 6 w 31"/>
                <a:gd name="T5" fmla="*/ 0 h 62"/>
                <a:gd name="T6" fmla="*/ 25 w 31"/>
                <a:gd name="T7" fmla="*/ 0 h 62"/>
                <a:gd name="T8" fmla="*/ 22 w 31"/>
                <a:gd name="T9" fmla="*/ 22 h 62"/>
                <a:gd name="T10" fmla="*/ 31 w 31"/>
                <a:gd name="T1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62">
                  <a:moveTo>
                    <a:pt x="0" y="62"/>
                  </a:moveTo>
                  <a:cubicBezTo>
                    <a:pt x="0" y="49"/>
                    <a:pt x="9" y="22"/>
                    <a:pt x="9" y="22"/>
                  </a:cubicBezTo>
                  <a:cubicBezTo>
                    <a:pt x="0" y="12"/>
                    <a:pt x="6" y="0"/>
                    <a:pt x="6" y="0"/>
                  </a:cubicBezTo>
                  <a:cubicBezTo>
                    <a:pt x="6" y="0"/>
                    <a:pt x="16" y="3"/>
                    <a:pt x="25" y="0"/>
                  </a:cubicBezTo>
                  <a:cubicBezTo>
                    <a:pt x="25" y="0"/>
                    <a:pt x="31" y="12"/>
                    <a:pt x="22" y="22"/>
                  </a:cubicBezTo>
                  <a:cubicBezTo>
                    <a:pt x="22" y="22"/>
                    <a:pt x="31" y="49"/>
                    <a:pt x="31" y="62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latin typeface="+mn-lt"/>
                <a:sym typeface="+mn-lt"/>
              </a:endParaRPr>
            </a:p>
          </p:txBody>
        </p:sp>
        <p:sp>
          <p:nvSpPr>
            <p:cNvPr id="16" name="Freeform 213">
              <a:extLst>
                <a:ext uri="{FF2B5EF4-FFF2-40B4-BE49-F238E27FC236}">
                  <a16:creationId xmlns:a16="http://schemas.microsoft.com/office/drawing/2014/main" id="{AA073ED1-E1FA-4671-AA01-9DBACD1A8F53}"/>
                </a:ext>
              </a:extLst>
            </p:cNvPr>
            <p:cNvSpPr>
              <a:spLocks/>
            </p:cNvSpPr>
            <p:nvPr/>
          </p:nvSpPr>
          <p:spPr bwMode="gray">
            <a:xfrm>
              <a:off x="693286" y="1066481"/>
              <a:ext cx="246830" cy="296953"/>
            </a:xfrm>
            <a:custGeom>
              <a:avLst/>
              <a:gdLst>
                <a:gd name="T0" fmla="*/ 59 w 87"/>
                <a:gd name="T1" fmla="*/ 105 h 105"/>
                <a:gd name="T2" fmla="*/ 85 w 87"/>
                <a:gd name="T3" fmla="*/ 51 h 105"/>
                <a:gd name="T4" fmla="*/ 82 w 87"/>
                <a:gd name="T5" fmla="*/ 20 h 105"/>
                <a:gd name="T6" fmla="*/ 60 w 87"/>
                <a:gd name="T7" fmla="*/ 3 h 105"/>
                <a:gd name="T8" fmla="*/ 44 w 87"/>
                <a:gd name="T9" fmla="*/ 0 h 105"/>
                <a:gd name="T10" fmla="*/ 28 w 87"/>
                <a:gd name="T11" fmla="*/ 3 h 105"/>
                <a:gd name="T12" fmla="*/ 5 w 87"/>
                <a:gd name="T13" fmla="*/ 20 h 105"/>
                <a:gd name="T14" fmla="*/ 2 w 87"/>
                <a:gd name="T15" fmla="*/ 51 h 105"/>
                <a:gd name="T16" fmla="*/ 28 w 87"/>
                <a:gd name="T1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" h="105">
                  <a:moveTo>
                    <a:pt x="59" y="105"/>
                  </a:moveTo>
                  <a:cubicBezTo>
                    <a:pt x="81" y="95"/>
                    <a:pt x="83" y="70"/>
                    <a:pt x="85" y="51"/>
                  </a:cubicBezTo>
                  <a:cubicBezTo>
                    <a:pt x="86" y="41"/>
                    <a:pt x="87" y="30"/>
                    <a:pt x="82" y="20"/>
                  </a:cubicBezTo>
                  <a:cubicBezTo>
                    <a:pt x="77" y="12"/>
                    <a:pt x="69" y="6"/>
                    <a:pt x="60" y="3"/>
                  </a:cubicBezTo>
                  <a:cubicBezTo>
                    <a:pt x="55" y="1"/>
                    <a:pt x="49" y="0"/>
                    <a:pt x="44" y="0"/>
                  </a:cubicBezTo>
                  <a:cubicBezTo>
                    <a:pt x="38" y="0"/>
                    <a:pt x="33" y="1"/>
                    <a:pt x="28" y="3"/>
                  </a:cubicBezTo>
                  <a:cubicBezTo>
                    <a:pt x="18" y="6"/>
                    <a:pt x="10" y="12"/>
                    <a:pt x="5" y="20"/>
                  </a:cubicBezTo>
                  <a:cubicBezTo>
                    <a:pt x="0" y="30"/>
                    <a:pt x="1" y="41"/>
                    <a:pt x="2" y="51"/>
                  </a:cubicBezTo>
                  <a:cubicBezTo>
                    <a:pt x="4" y="70"/>
                    <a:pt x="7" y="95"/>
                    <a:pt x="28" y="105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latin typeface="+mn-lt"/>
                <a:sym typeface="+mn-lt"/>
              </a:endParaRPr>
            </a:p>
          </p:txBody>
        </p:sp>
        <p:sp>
          <p:nvSpPr>
            <p:cNvPr id="17" name="Line 214">
              <a:extLst>
                <a:ext uri="{FF2B5EF4-FFF2-40B4-BE49-F238E27FC236}">
                  <a16:creationId xmlns:a16="http://schemas.microsoft.com/office/drawing/2014/main" id="{75E7AE0B-9F96-45F9-954E-BC0F6D26610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7191" y="1352085"/>
              <a:ext cx="0" cy="3688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latin typeface="+mn-lt"/>
                <a:sym typeface="+mn-lt"/>
              </a:endParaRPr>
            </a:p>
          </p:txBody>
        </p:sp>
        <p:sp>
          <p:nvSpPr>
            <p:cNvPr id="18" name="Line 216">
              <a:extLst>
                <a:ext uri="{FF2B5EF4-FFF2-40B4-BE49-F238E27FC236}">
                  <a16:creationId xmlns:a16="http://schemas.microsoft.com/office/drawing/2014/main" id="{CF4ECCE2-7969-4127-B240-CA98BCEA933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886211" y="1352085"/>
              <a:ext cx="0" cy="36883"/>
            </a:xfrm>
            <a:prstGeom prst="line">
              <a:avLst/>
            </a:pr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latin typeface="+mn-lt"/>
                <a:sym typeface="+mn-lt"/>
              </a:endParaRPr>
            </a:p>
          </p:txBody>
        </p:sp>
        <p:sp>
          <p:nvSpPr>
            <p:cNvPr id="19" name="Freeform 217">
              <a:extLst>
                <a:ext uri="{FF2B5EF4-FFF2-40B4-BE49-F238E27FC236}">
                  <a16:creationId xmlns:a16="http://schemas.microsoft.com/office/drawing/2014/main" id="{6E2D7282-4282-43F6-B901-AD025321A9F8}"/>
                </a:ext>
              </a:extLst>
            </p:cNvPr>
            <p:cNvSpPr>
              <a:spLocks/>
            </p:cNvSpPr>
            <p:nvPr/>
          </p:nvSpPr>
          <p:spPr bwMode="gray">
            <a:xfrm>
              <a:off x="704634" y="1151595"/>
              <a:ext cx="226970" cy="36883"/>
            </a:xfrm>
            <a:custGeom>
              <a:avLst/>
              <a:gdLst>
                <a:gd name="T0" fmla="*/ 80 w 80"/>
                <a:gd name="T1" fmla="*/ 13 h 13"/>
                <a:gd name="T2" fmla="*/ 64 w 80"/>
                <a:gd name="T3" fmla="*/ 4 h 13"/>
                <a:gd name="T4" fmla="*/ 40 w 80"/>
                <a:gd name="T5" fmla="*/ 13 h 13"/>
                <a:gd name="T6" fmla="*/ 15 w 80"/>
                <a:gd name="T7" fmla="*/ 4 h 13"/>
                <a:gd name="T8" fmla="*/ 0 w 80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13">
                  <a:moveTo>
                    <a:pt x="80" y="13"/>
                  </a:moveTo>
                  <a:cubicBezTo>
                    <a:pt x="80" y="13"/>
                    <a:pt x="76" y="0"/>
                    <a:pt x="64" y="4"/>
                  </a:cubicBezTo>
                  <a:cubicBezTo>
                    <a:pt x="55" y="7"/>
                    <a:pt x="52" y="13"/>
                    <a:pt x="40" y="13"/>
                  </a:cubicBezTo>
                  <a:cubicBezTo>
                    <a:pt x="27" y="13"/>
                    <a:pt x="24" y="7"/>
                    <a:pt x="15" y="4"/>
                  </a:cubicBezTo>
                  <a:cubicBezTo>
                    <a:pt x="3" y="0"/>
                    <a:pt x="0" y="13"/>
                    <a:pt x="0" y="13"/>
                  </a:cubicBezTo>
                </a:path>
              </a:pathLst>
            </a:custGeom>
            <a:no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latin typeface="+mn-lt"/>
                <a:sym typeface="+mn-lt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D888A8DB-D585-4BBF-AA4F-845C7F86B360}"/>
              </a:ext>
            </a:extLst>
          </p:cNvPr>
          <p:cNvSpPr txBox="1">
            <a:spLocks/>
          </p:cNvSpPr>
          <p:nvPr/>
        </p:nvSpPr>
        <p:spPr bwMode="gray">
          <a:xfrm>
            <a:off x="161984" y="3512755"/>
            <a:ext cx="4435973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sz="1600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ru-RU" sz="1600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600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ru-RU" sz="1600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600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55562" lvl="1" indent="0">
              <a:buNone/>
            </a:pPr>
            <a:r>
              <a:rPr lang="ru-RU" sz="1200" dirty="0">
                <a:solidFill>
                  <a:srgbClr val="262626"/>
                </a:solidFill>
              </a:rPr>
              <a:t>1. Изменение структуры производственного отдела с разделением функционала управления производством и взаимодействия с отделом сбыта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130D7B1-20C6-46F9-8FE6-5B13620804E1}"/>
              </a:ext>
            </a:extLst>
          </p:cNvPr>
          <p:cNvSpPr txBox="1">
            <a:spLocks/>
          </p:cNvSpPr>
          <p:nvPr/>
        </p:nvSpPr>
        <p:spPr bwMode="gray">
          <a:xfrm>
            <a:off x="4852484" y="3512755"/>
            <a:ext cx="1056904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sz="1600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ru-RU" sz="1600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600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ru-RU" sz="1600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600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ru-RU" sz="1200" dirty="0">
                <a:solidFill>
                  <a:schemeClr val="bg1"/>
                </a:solidFill>
              </a:rPr>
              <a:t>Май 2024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5142430-B742-42CC-8E0C-DB0E5162EEE1}"/>
              </a:ext>
            </a:extLst>
          </p:cNvPr>
          <p:cNvSpPr txBox="1">
            <a:spLocks/>
          </p:cNvSpPr>
          <p:nvPr/>
        </p:nvSpPr>
        <p:spPr bwMode="gray">
          <a:xfrm>
            <a:off x="6163915" y="3512755"/>
            <a:ext cx="2088731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sz="1600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ru-RU" sz="1600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600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ru-RU" sz="1600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600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ru-RU" sz="1200" dirty="0">
                <a:solidFill>
                  <a:schemeClr val="bg1"/>
                </a:solidFill>
              </a:rPr>
              <a:t>Агафонов А.А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20A786A-BB91-45AD-9E03-8FDCF6B209CA}"/>
              </a:ext>
            </a:extLst>
          </p:cNvPr>
          <p:cNvSpPr txBox="1">
            <a:spLocks/>
          </p:cNvSpPr>
          <p:nvPr/>
        </p:nvSpPr>
        <p:spPr bwMode="gray">
          <a:xfrm>
            <a:off x="161984" y="4364516"/>
            <a:ext cx="4435973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sz="1600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ru-RU" sz="1600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600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ru-RU" sz="1600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600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55562" lvl="1" indent="0">
              <a:buNone/>
            </a:pPr>
            <a:r>
              <a:rPr lang="ru-RU" sz="1200" dirty="0">
                <a:solidFill>
                  <a:schemeClr val="bg1"/>
                </a:solidFill>
              </a:rPr>
              <a:t>2. Разработка математической модели расчета загрузки производственных цепочек (мощностей)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3E0E7AD-4D39-44CD-948A-B058A1CEBA56}"/>
              </a:ext>
            </a:extLst>
          </p:cNvPr>
          <p:cNvSpPr txBox="1">
            <a:spLocks/>
          </p:cNvSpPr>
          <p:nvPr/>
        </p:nvSpPr>
        <p:spPr bwMode="gray">
          <a:xfrm>
            <a:off x="4852484" y="4364516"/>
            <a:ext cx="980674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sz="1600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ru-RU" sz="1600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600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ru-RU" sz="1600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600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ru-RU" sz="1200" dirty="0">
                <a:solidFill>
                  <a:schemeClr val="bg1"/>
                </a:solidFill>
              </a:rPr>
              <a:t>Декабрь 2024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ED7368B-A0AB-49A3-885E-3BBE932D8675}"/>
              </a:ext>
            </a:extLst>
          </p:cNvPr>
          <p:cNvSpPr txBox="1">
            <a:spLocks/>
          </p:cNvSpPr>
          <p:nvPr/>
        </p:nvSpPr>
        <p:spPr bwMode="gray">
          <a:xfrm>
            <a:off x="6157043" y="4348568"/>
            <a:ext cx="2088731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sz="1600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ru-RU" sz="1600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600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ru-RU" sz="1600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600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ru-RU" sz="1200" dirty="0">
                <a:solidFill>
                  <a:schemeClr val="bg1"/>
                </a:solidFill>
              </a:rPr>
              <a:t>Агафонов А.А.</a:t>
            </a:r>
          </a:p>
        </p:txBody>
      </p:sp>
      <p:grpSp>
        <p:nvGrpSpPr>
          <p:cNvPr id="32" name="Group 7">
            <a:extLst>
              <a:ext uri="{FF2B5EF4-FFF2-40B4-BE49-F238E27FC236}">
                <a16:creationId xmlns:a16="http://schemas.microsoft.com/office/drawing/2014/main" id="{CAC9143C-B495-4BC6-8CBE-4AA8D3AC7104}"/>
              </a:ext>
            </a:extLst>
          </p:cNvPr>
          <p:cNvGrpSpPr/>
          <p:nvPr/>
        </p:nvGrpSpPr>
        <p:grpSpPr bwMode="gray">
          <a:xfrm>
            <a:off x="161984" y="1745412"/>
            <a:ext cx="7850433" cy="1263315"/>
            <a:chOff x="161984" y="1067143"/>
            <a:chExt cx="7850433" cy="933655"/>
          </a:xfrm>
        </p:grpSpPr>
        <p:cxnSp>
          <p:nvCxnSpPr>
            <p:cNvPr id="33" name="Straight Connector 241">
              <a:extLst>
                <a:ext uri="{FF2B5EF4-FFF2-40B4-BE49-F238E27FC236}">
                  <a16:creationId xmlns:a16="http://schemas.microsoft.com/office/drawing/2014/main" id="{B8C15C66-7E9B-4612-8890-8FF30ECCB5D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642575" y="1077468"/>
              <a:ext cx="0" cy="92333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430425AA-A853-4E68-9D2A-3EF61A7752F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61984" y="1067143"/>
              <a:ext cx="4383700" cy="68238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ru-RU" sz="1600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ru-RU" sz="1600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ru-RU" sz="1600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ru-RU" sz="1600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ru-RU" sz="1600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lvl="1" indent="0">
                <a:buNone/>
              </a:pPr>
              <a:r>
                <a:rPr lang="ru-RU" sz="1200" dirty="0">
                  <a:solidFill>
                    <a:srgbClr val="262626"/>
                  </a:solidFill>
                </a:rPr>
                <a:t>За счет изменений в системе планирования производством, снизить уровень:</a:t>
              </a:r>
            </a:p>
            <a:p>
              <a:pPr marL="0" lvl="1" indent="0">
                <a:buNone/>
              </a:pPr>
              <a:r>
                <a:rPr lang="ru-RU" sz="1200" dirty="0">
                  <a:solidFill>
                    <a:srgbClr val="262626"/>
                  </a:solidFill>
                </a:rPr>
                <a:t>- НЗП на 100 тонн;</a:t>
              </a:r>
            </a:p>
            <a:p>
              <a:pPr marL="0" lvl="1" indent="0">
                <a:buNone/>
              </a:pPr>
              <a:r>
                <a:rPr lang="ru-RU" sz="1200" dirty="0">
                  <a:solidFill>
                    <a:srgbClr val="262626"/>
                  </a:solidFill>
                </a:rPr>
                <a:t>- остатка отходов на 80 тонн; </a:t>
              </a:r>
            </a:p>
            <a:p>
              <a:pPr marL="0" lvl="1" indent="0">
                <a:buNone/>
              </a:pPr>
              <a:r>
                <a:rPr lang="ru-RU" sz="1200" dirty="0">
                  <a:solidFill>
                    <a:srgbClr val="262626"/>
                  </a:solidFill>
                </a:rPr>
                <a:t>- запасов готовой продукции на 180 тонн. 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9B2DC6BF-7FA0-4BE2-A3B3-B8AD4E2EBA7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696096" y="1090624"/>
              <a:ext cx="3316321" cy="8188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ru-RU" sz="1600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ru-RU" sz="1600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ru-RU" sz="1600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ru-RU" sz="1600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ru-RU" sz="1600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55562" lvl="1"/>
              <a:r>
                <a:rPr lang="ru-RU" sz="1200" dirty="0">
                  <a:solidFill>
                    <a:srgbClr val="262626"/>
                  </a:solidFill>
                </a:rPr>
                <a:t>Длительный срок разработки автоматизированной системы;</a:t>
              </a:r>
            </a:p>
            <a:p>
              <a:pPr marL="55562" lvl="1"/>
              <a:r>
                <a:rPr lang="ru-RU" sz="1200" dirty="0">
                  <a:solidFill>
                    <a:srgbClr val="262626"/>
                  </a:solidFill>
                </a:rPr>
                <a:t> Не достижение поставленной цели автоматизации;</a:t>
              </a:r>
            </a:p>
            <a:p>
              <a:pPr marL="55562" lvl="1"/>
              <a:r>
                <a:rPr lang="ru-RU" sz="1200" dirty="0">
                  <a:solidFill>
                    <a:srgbClr val="262626"/>
                  </a:solidFill>
                </a:rPr>
                <a:t>Ограничение фин. ресурсов.</a:t>
              </a:r>
            </a:p>
            <a:p>
              <a:pPr marL="0" lvl="1" indent="0">
                <a:buNone/>
              </a:pPr>
              <a:endParaRPr lang="ru-RU" sz="1200" dirty="0">
                <a:solidFill>
                  <a:srgbClr val="262626"/>
                </a:solidFill>
              </a:endParaRPr>
            </a:p>
          </p:txBody>
        </p:sp>
      </p:grpSp>
      <p:cxnSp>
        <p:nvCxnSpPr>
          <p:cNvPr id="36" name="Straight Connector 264">
            <a:extLst>
              <a:ext uri="{FF2B5EF4-FFF2-40B4-BE49-F238E27FC236}">
                <a16:creationId xmlns:a16="http://schemas.microsoft.com/office/drawing/2014/main" id="{10B95D51-097A-4CBD-A2D4-F167A47C97A6}"/>
              </a:ext>
            </a:extLst>
          </p:cNvPr>
          <p:cNvCxnSpPr>
            <a:cxnSpLocks/>
          </p:cNvCxnSpPr>
          <p:nvPr/>
        </p:nvCxnSpPr>
        <p:spPr bwMode="gray">
          <a:xfrm>
            <a:off x="118615" y="4260868"/>
            <a:ext cx="7893802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137">
            <a:extLst>
              <a:ext uri="{FF2B5EF4-FFF2-40B4-BE49-F238E27FC236}">
                <a16:creationId xmlns:a16="http://schemas.microsoft.com/office/drawing/2014/main" id="{031AD128-1958-4D13-B4EB-7F235835AEAE}"/>
              </a:ext>
            </a:extLst>
          </p:cNvPr>
          <p:cNvGrpSpPr/>
          <p:nvPr/>
        </p:nvGrpSpPr>
        <p:grpSpPr bwMode="gray">
          <a:xfrm>
            <a:off x="2" y="3120034"/>
            <a:ext cx="8070431" cy="254557"/>
            <a:chOff x="0" y="1873474"/>
            <a:chExt cx="8070431" cy="254557"/>
          </a:xfrm>
          <a:solidFill>
            <a:schemeClr val="accent1"/>
          </a:solidFill>
        </p:grpSpPr>
        <p:sp>
          <p:nvSpPr>
            <p:cNvPr id="40" name="Rectangle 138">
              <a:extLst>
                <a:ext uri="{FF2B5EF4-FFF2-40B4-BE49-F238E27FC236}">
                  <a16:creationId xmlns:a16="http://schemas.microsoft.com/office/drawing/2014/main" id="{9642A871-D3CD-4D68-A321-5DC8FCED5B1B}"/>
                </a:ext>
              </a:extLst>
            </p:cNvPr>
            <p:cNvSpPr>
              <a:spLocks/>
            </p:cNvSpPr>
            <p:nvPr/>
          </p:nvSpPr>
          <p:spPr bwMode="gray">
            <a:xfrm>
              <a:off x="0" y="1873474"/>
              <a:ext cx="8070431" cy="254557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 sz="1100" dirty="0" err="1">
                <a:solidFill>
                  <a:schemeClr val="tx1"/>
                </a:solidFill>
                <a:sym typeface="+mn-lt"/>
              </a:endParaRPr>
            </a:p>
          </p:txBody>
        </p:sp>
        <p:sp>
          <p:nvSpPr>
            <p:cNvPr id="41" name="AutoShape 250">
              <a:extLst>
                <a:ext uri="{FF2B5EF4-FFF2-40B4-BE49-F238E27FC236}">
                  <a16:creationId xmlns:a16="http://schemas.microsoft.com/office/drawing/2014/main" id="{16BECD62-B999-482F-9CC0-67EC7ACC1CD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488" y="1923808"/>
              <a:ext cx="4435973" cy="153888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>
              <a:noFill/>
            </a:ln>
            <a:effectLst/>
          </p:spPr>
          <p:txBody>
            <a:bodyPr wrap="square" lIns="0" tIns="0" rIns="0" bIns="0" anchor="ctr" anchorCtr="0">
              <a:noAutofit/>
            </a:bodyPr>
            <a:lstStyle/>
            <a:p>
              <a:r>
                <a:rPr lang="ru-RU" sz="1100" b="1" dirty="0">
                  <a:latin typeface="+mn-lt"/>
                  <a:sym typeface="+mn-lt"/>
                </a:rPr>
                <a:t>Основные вехи</a:t>
              </a:r>
            </a:p>
          </p:txBody>
        </p:sp>
        <p:sp>
          <p:nvSpPr>
            <p:cNvPr id="42" name="AutoShape 250">
              <a:extLst>
                <a:ext uri="{FF2B5EF4-FFF2-40B4-BE49-F238E27FC236}">
                  <a16:creationId xmlns:a16="http://schemas.microsoft.com/office/drawing/2014/main" id="{CD4C6B79-FF23-4F12-AD97-3B3131A6D9F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826606" y="1923808"/>
              <a:ext cx="926446" cy="153888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>
              <a:noFill/>
            </a:ln>
            <a:effectLst/>
          </p:spPr>
          <p:txBody>
            <a:bodyPr wrap="square" lIns="0" tIns="0" rIns="0" bIns="0" anchor="ctr" anchorCtr="0">
              <a:noAutofit/>
            </a:bodyPr>
            <a:lstStyle/>
            <a:p>
              <a:r>
                <a:rPr lang="ru-RU" sz="1100" b="1" dirty="0">
                  <a:latin typeface="+mn-lt"/>
                  <a:sym typeface="+mn-lt"/>
                </a:rPr>
                <a:t>Сроки</a:t>
              </a:r>
            </a:p>
          </p:txBody>
        </p:sp>
        <p:sp>
          <p:nvSpPr>
            <p:cNvPr id="43" name="AutoShape 250">
              <a:extLst>
                <a:ext uri="{FF2B5EF4-FFF2-40B4-BE49-F238E27FC236}">
                  <a16:creationId xmlns:a16="http://schemas.microsoft.com/office/drawing/2014/main" id="{11F35175-27EC-4BD0-88D5-092AE4DD3D5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981700" y="1923808"/>
              <a:ext cx="2088731" cy="153888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>
              <a:noFill/>
            </a:ln>
            <a:effectLst/>
          </p:spPr>
          <p:txBody>
            <a:bodyPr wrap="square" lIns="0" tIns="0" rIns="0" bIns="0" anchor="ctr" anchorCtr="0">
              <a:noAutofit/>
            </a:bodyPr>
            <a:lstStyle/>
            <a:p>
              <a:r>
                <a:rPr lang="ru-RU" sz="1100" b="1" dirty="0">
                  <a:latin typeface="+mn-lt"/>
                  <a:sym typeface="+mn-lt"/>
                </a:rPr>
                <a:t>Ответственный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B12B4B5F-9072-4789-828C-CCB9C07471DE}"/>
              </a:ext>
            </a:extLst>
          </p:cNvPr>
          <p:cNvSpPr txBox="1"/>
          <p:nvPr/>
        </p:nvSpPr>
        <p:spPr bwMode="gray">
          <a:xfrm>
            <a:off x="10171440" y="1331363"/>
            <a:ext cx="2085817" cy="1692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sz="1600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ru-RU" sz="1600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600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ru-RU" sz="1600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600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ru-RU" sz="1100" dirty="0">
                <a:solidFill>
                  <a:schemeClr val="bg1"/>
                </a:solidFill>
                <a:sym typeface="+mn-lt"/>
              </a:rPr>
              <a:t>Агафонов А.А.</a:t>
            </a:r>
          </a:p>
        </p:txBody>
      </p:sp>
      <p:sp>
        <p:nvSpPr>
          <p:cNvPr id="45" name="Rectangle 228">
            <a:extLst>
              <a:ext uri="{FF2B5EF4-FFF2-40B4-BE49-F238E27FC236}">
                <a16:creationId xmlns:a16="http://schemas.microsoft.com/office/drawing/2014/main" id="{FB29E5B4-2CAE-4933-8040-2ECF944B5587}"/>
              </a:ext>
            </a:extLst>
          </p:cNvPr>
          <p:cNvSpPr>
            <a:spLocks/>
          </p:cNvSpPr>
          <p:nvPr/>
        </p:nvSpPr>
        <p:spPr bwMode="gray">
          <a:xfrm>
            <a:off x="1" y="1423619"/>
            <a:ext cx="8070430" cy="254557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1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6" name="AutoShape 250">
            <a:extLst>
              <a:ext uri="{FF2B5EF4-FFF2-40B4-BE49-F238E27FC236}">
                <a16:creationId xmlns:a16="http://schemas.microsoft.com/office/drawing/2014/main" id="{F324526E-D91B-4073-8AA6-3972F2075D8B}"/>
              </a:ext>
            </a:extLst>
          </p:cNvPr>
          <p:cNvSpPr>
            <a:spLocks noChangeArrowheads="1"/>
          </p:cNvSpPr>
          <p:nvPr/>
        </p:nvSpPr>
        <p:spPr bwMode="gray">
          <a:xfrm>
            <a:off x="4739467" y="1466259"/>
            <a:ext cx="3316321" cy="16927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ru-RU" sz="1100" b="1" dirty="0">
                <a:latin typeface="+mn-lt"/>
                <a:sym typeface="+mn-lt"/>
              </a:rPr>
              <a:t>Основные риски</a:t>
            </a:r>
          </a:p>
        </p:txBody>
      </p:sp>
      <p:cxnSp>
        <p:nvCxnSpPr>
          <p:cNvPr id="47" name="Straight Connector 230">
            <a:extLst>
              <a:ext uri="{FF2B5EF4-FFF2-40B4-BE49-F238E27FC236}">
                <a16:creationId xmlns:a16="http://schemas.microsoft.com/office/drawing/2014/main" id="{DC23C836-AC10-4D61-93F9-93EFFFFFB6D6}"/>
              </a:ext>
            </a:extLst>
          </p:cNvPr>
          <p:cNvCxnSpPr>
            <a:cxnSpLocks/>
          </p:cNvCxnSpPr>
          <p:nvPr/>
        </p:nvCxnSpPr>
        <p:spPr bwMode="gray">
          <a:xfrm>
            <a:off x="4642575" y="1459314"/>
            <a:ext cx="0" cy="183167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AutoShape 250">
            <a:extLst>
              <a:ext uri="{FF2B5EF4-FFF2-40B4-BE49-F238E27FC236}">
                <a16:creationId xmlns:a16="http://schemas.microsoft.com/office/drawing/2014/main" id="{592CF78D-C26E-42FB-8E4D-26374E71BD8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1984" y="1466259"/>
            <a:ext cx="4383700" cy="16927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ru-RU" sz="1100" b="1" dirty="0">
                <a:latin typeface="+mn-lt"/>
                <a:sym typeface="+mn-lt"/>
              </a:rPr>
              <a:t>Описание</a:t>
            </a:r>
          </a:p>
        </p:txBody>
      </p:sp>
      <p:sp>
        <p:nvSpPr>
          <p:cNvPr id="49" name="Rectangle 274">
            <a:extLst>
              <a:ext uri="{FF2B5EF4-FFF2-40B4-BE49-F238E27FC236}">
                <a16:creationId xmlns:a16="http://schemas.microsoft.com/office/drawing/2014/main" id="{EE3BD58D-DCA2-40D1-83E9-D907C1723DC3}"/>
              </a:ext>
            </a:extLst>
          </p:cNvPr>
          <p:cNvSpPr>
            <a:spLocks/>
          </p:cNvSpPr>
          <p:nvPr/>
        </p:nvSpPr>
        <p:spPr bwMode="gray">
          <a:xfrm>
            <a:off x="8350781" y="2184530"/>
            <a:ext cx="3841219" cy="254557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0" name="AutoShape 250">
            <a:extLst>
              <a:ext uri="{FF2B5EF4-FFF2-40B4-BE49-F238E27FC236}">
                <a16:creationId xmlns:a16="http://schemas.microsoft.com/office/drawing/2014/main" id="{8F939ED8-DCAE-411C-B691-A87B2056082A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24863" y="2227170"/>
            <a:ext cx="2462211" cy="16927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ru-RU" sz="1100" b="1" dirty="0">
                <a:latin typeface="+mn-lt"/>
                <a:sym typeface="+mn-lt"/>
              </a:rPr>
              <a:t>Эффект от инициативы</a:t>
            </a:r>
            <a:endParaRPr lang="ru-RU" sz="1100" dirty="0">
              <a:latin typeface="+mn-lt"/>
              <a:sym typeface="+mn-lt"/>
            </a:endParaRPr>
          </a:p>
        </p:txBody>
      </p:sp>
      <p:grpSp>
        <p:nvGrpSpPr>
          <p:cNvPr id="51" name="Group 3">
            <a:extLst>
              <a:ext uri="{FF2B5EF4-FFF2-40B4-BE49-F238E27FC236}">
                <a16:creationId xmlns:a16="http://schemas.microsoft.com/office/drawing/2014/main" id="{754319F5-60AA-4977-84E9-CA36CB1B4295}"/>
              </a:ext>
            </a:extLst>
          </p:cNvPr>
          <p:cNvGrpSpPr/>
          <p:nvPr/>
        </p:nvGrpSpPr>
        <p:grpSpPr>
          <a:xfrm>
            <a:off x="8350781" y="3291994"/>
            <a:ext cx="3841219" cy="254557"/>
            <a:chOff x="8350781" y="3744490"/>
            <a:chExt cx="3841219" cy="254557"/>
          </a:xfrm>
          <a:solidFill>
            <a:schemeClr val="accent1"/>
          </a:solidFill>
        </p:grpSpPr>
        <p:sp>
          <p:nvSpPr>
            <p:cNvPr id="52" name="Rectangle 276">
              <a:extLst>
                <a:ext uri="{FF2B5EF4-FFF2-40B4-BE49-F238E27FC236}">
                  <a16:creationId xmlns:a16="http://schemas.microsoft.com/office/drawing/2014/main" id="{1ED00309-6B33-4D74-9365-E965685DE6C6}"/>
                </a:ext>
              </a:extLst>
            </p:cNvPr>
            <p:cNvSpPr>
              <a:spLocks/>
            </p:cNvSpPr>
            <p:nvPr/>
          </p:nvSpPr>
          <p:spPr bwMode="gray">
            <a:xfrm>
              <a:off x="8350781" y="3744490"/>
              <a:ext cx="3841219" cy="254557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 sz="1200" dirty="0">
                <a:solidFill>
                  <a:schemeClr val="tx1"/>
                </a:solidFill>
                <a:sym typeface="+mn-lt"/>
              </a:endParaRPr>
            </a:p>
          </p:txBody>
        </p:sp>
        <p:sp>
          <p:nvSpPr>
            <p:cNvPr id="53" name="AutoShape 250">
              <a:extLst>
                <a:ext uri="{FF2B5EF4-FFF2-40B4-BE49-F238E27FC236}">
                  <a16:creationId xmlns:a16="http://schemas.microsoft.com/office/drawing/2014/main" id="{CCC4B905-3E91-4CA0-AFAB-795680BCD73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24863" y="3787130"/>
              <a:ext cx="1833561" cy="169277"/>
            </a:xfrm>
            <a:prstGeom prst="leftRightArrow">
              <a:avLst>
                <a:gd name="adj1" fmla="val 100000"/>
                <a:gd name="adj2" fmla="val 0"/>
              </a:avLst>
            </a:prstGeom>
            <a:grpFill/>
            <a:ln>
              <a:noFill/>
            </a:ln>
            <a:effectLst/>
          </p:spPr>
          <p:txBody>
            <a:bodyPr wrap="square" lIns="0" tIns="0" rIns="0" bIns="0" anchor="ctr" anchorCtr="0">
              <a:spAutoFit/>
            </a:bodyPr>
            <a:lstStyle/>
            <a:p>
              <a:r>
                <a:rPr lang="ru-RU" sz="1100" b="1" dirty="0">
                  <a:latin typeface="+mn-lt"/>
                  <a:sym typeface="+mn-lt"/>
                </a:rPr>
                <a:t>Требуемые ресурсы</a:t>
              </a:r>
            </a:p>
          </p:txBody>
        </p: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C0D5F654-4653-451E-93E7-8ADA769686F6}"/>
              </a:ext>
            </a:extLst>
          </p:cNvPr>
          <p:cNvSpPr txBox="1">
            <a:spLocks/>
          </p:cNvSpPr>
          <p:nvPr/>
        </p:nvSpPr>
        <p:spPr bwMode="gray">
          <a:xfrm>
            <a:off x="9249866" y="4549182"/>
            <a:ext cx="2952956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sz="1600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ru-RU" sz="1600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600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ru-RU" sz="1600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600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</a:pPr>
            <a:r>
              <a:rPr lang="ru-RU" sz="1100" dirty="0">
                <a:solidFill>
                  <a:schemeClr val="bg1"/>
                </a:solidFill>
              </a:rPr>
              <a:t>Обучение работников ПУ и IT современным практикам управления производственными процессами </a:t>
            </a:r>
          </a:p>
        </p:txBody>
      </p:sp>
      <p:sp>
        <p:nvSpPr>
          <p:cNvPr id="60" name="Rectangle 124">
            <a:extLst>
              <a:ext uri="{FF2B5EF4-FFF2-40B4-BE49-F238E27FC236}">
                <a16:creationId xmlns:a16="http://schemas.microsoft.com/office/drawing/2014/main" id="{B6648AE7-21ED-4E68-9BA9-FCAFDF887FFC}"/>
              </a:ext>
            </a:extLst>
          </p:cNvPr>
          <p:cNvSpPr>
            <a:spLocks/>
          </p:cNvSpPr>
          <p:nvPr/>
        </p:nvSpPr>
        <p:spPr bwMode="gray">
          <a:xfrm>
            <a:off x="1" y="1109252"/>
            <a:ext cx="8070430" cy="254557"/>
          </a:xfrm>
          <a:prstGeom prst="rect">
            <a:avLst/>
          </a:prstGeom>
          <a:solidFill>
            <a:srgbClr val="EB8B2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1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1" name="AutoShape 250">
            <a:extLst>
              <a:ext uri="{FF2B5EF4-FFF2-40B4-BE49-F238E27FC236}">
                <a16:creationId xmlns:a16="http://schemas.microsoft.com/office/drawing/2014/main" id="{DCFEA0C1-EED0-4437-A79C-3875AF9E4B7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1984" y="1151891"/>
            <a:ext cx="4383700" cy="16927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ru-RU" sz="1100" b="1" dirty="0">
                <a:latin typeface="+mn-lt"/>
                <a:sym typeface="+mn-lt"/>
              </a:rPr>
              <a:t>Стратегическая инициатива</a:t>
            </a:r>
          </a:p>
        </p:txBody>
      </p:sp>
      <p:sp>
        <p:nvSpPr>
          <p:cNvPr id="62" name="Rectangle 5">
            <a:extLst>
              <a:ext uri="{FF2B5EF4-FFF2-40B4-BE49-F238E27FC236}">
                <a16:creationId xmlns:a16="http://schemas.microsoft.com/office/drawing/2014/main" id="{2D6C7BE2-CE7E-4564-89A0-4D7039EECD7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260924" y="1119599"/>
            <a:ext cx="5794864" cy="229233"/>
          </a:xfrm>
          <a:prstGeom prst="rect">
            <a:avLst/>
          </a:prstGeom>
          <a:solidFill>
            <a:srgbClr val="FBE8D5"/>
          </a:solidFill>
          <a:ln w="19050">
            <a:noFill/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en-US"/>
            </a:defPPr>
            <a:lvl1pPr defTabSz="895350">
              <a:spcBef>
                <a:spcPts val="1200"/>
              </a:spcBef>
              <a:buClr>
                <a:schemeClr val="tx2"/>
              </a:buClr>
              <a:defRPr sz="1800" i="1">
                <a:solidFill>
                  <a:schemeClr val="accent3"/>
                </a:solidFill>
                <a:latin typeface="Georgia" pitchFamily="18" charset="0"/>
                <a:cs typeface="+mn-cs"/>
              </a:defRPr>
            </a:lvl1pPr>
          </a:lstStyle>
          <a:p>
            <a:pPr algn="ctr">
              <a:lnSpc>
                <a:spcPct val="95000"/>
              </a:lnSpc>
              <a:spcBef>
                <a:spcPts val="0"/>
              </a:spcBef>
              <a:buClr>
                <a:schemeClr val="lt1"/>
              </a:buClr>
            </a:pPr>
            <a:r>
              <a:rPr lang="ru-RU" sz="1200" b="1" i="0" dirty="0">
                <a:solidFill>
                  <a:schemeClr val="lt1"/>
                </a:solidFill>
                <a:latin typeface="+mn-lt"/>
              </a:rPr>
              <a:t>Оптимизация непрофильных активов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6CA0BF5C-01B6-4605-9523-60B2602F5664}"/>
              </a:ext>
            </a:extLst>
          </p:cNvPr>
          <p:cNvSpPr txBox="1">
            <a:spLocks/>
          </p:cNvSpPr>
          <p:nvPr/>
        </p:nvSpPr>
        <p:spPr bwMode="gray">
          <a:xfrm>
            <a:off x="8256875" y="4530775"/>
            <a:ext cx="1085978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sz="1600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ru-RU" sz="1600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600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ru-RU" sz="1600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600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ru-RU" sz="1100" b="1" dirty="0">
                <a:solidFill>
                  <a:schemeClr val="accent1"/>
                </a:solidFill>
              </a:rPr>
              <a:t>Компетенции</a:t>
            </a:r>
          </a:p>
        </p:txBody>
      </p:sp>
      <p:sp>
        <p:nvSpPr>
          <p:cNvPr id="65" name="Rectangle 5">
            <a:extLst>
              <a:ext uri="{FF2B5EF4-FFF2-40B4-BE49-F238E27FC236}">
                <a16:creationId xmlns:a16="http://schemas.microsoft.com/office/drawing/2014/main" id="{BCE24F83-16C9-4772-ABDE-1E9B980E0E1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350781" y="2481796"/>
            <a:ext cx="3830210" cy="32133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txBody>
          <a:bodyPr vert="horz" wrap="square" lIns="73472" tIns="73472" rIns="73472" bIns="73472" rtlCol="0" anchor="ctr" anchorCtr="0">
            <a:noAutofit/>
          </a:bodyPr>
          <a:lstStyle>
            <a:defPPr>
              <a:defRPr lang="en-US"/>
            </a:defPPr>
            <a:lvl1pPr defTabSz="895350">
              <a:spcBef>
                <a:spcPts val="1200"/>
              </a:spcBef>
              <a:buClr>
                <a:schemeClr val="tx2"/>
              </a:buClr>
              <a:defRPr sz="1800" i="1">
                <a:solidFill>
                  <a:schemeClr val="accent3"/>
                </a:solidFill>
                <a:latin typeface="Georgia" pitchFamily="18" charset="0"/>
                <a:cs typeface="+mn-cs"/>
              </a:defRPr>
            </a:lvl1pPr>
          </a:lstStyle>
          <a:p>
            <a:pPr>
              <a:lnSpc>
                <a:spcPct val="95000"/>
              </a:lnSpc>
              <a:spcBef>
                <a:spcPts val="0"/>
              </a:spcBef>
              <a:buClr>
                <a:schemeClr val="bg2"/>
              </a:buClr>
            </a:pPr>
            <a:r>
              <a:rPr lang="ru-RU" sz="1100" b="1" i="0" dirty="0">
                <a:solidFill>
                  <a:schemeClr val="bg1"/>
                </a:solidFill>
                <a:latin typeface="+mn-lt"/>
              </a:rPr>
              <a:t>Эффект на FCF, млн.руб. к 2025г.</a:t>
            </a:r>
          </a:p>
        </p:txBody>
      </p:sp>
      <p:sp>
        <p:nvSpPr>
          <p:cNvPr id="66" name="Rectangle 5">
            <a:extLst>
              <a:ext uri="{FF2B5EF4-FFF2-40B4-BE49-F238E27FC236}">
                <a16:creationId xmlns:a16="http://schemas.microsoft.com/office/drawing/2014/main" id="{3B06CE92-9285-4D3A-B30D-C801F643F19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350779" y="3631756"/>
            <a:ext cx="3830211" cy="32133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txBody>
          <a:bodyPr vert="horz" wrap="square" lIns="73472" tIns="73472" rIns="73472" bIns="73472" rtlCol="0" anchor="ctr" anchorCtr="0">
            <a:noAutofit/>
          </a:bodyPr>
          <a:lstStyle>
            <a:defPPr>
              <a:defRPr lang="en-US"/>
            </a:defPPr>
            <a:lvl1pPr defTabSz="895350">
              <a:spcBef>
                <a:spcPts val="1200"/>
              </a:spcBef>
              <a:buClr>
                <a:schemeClr val="tx2"/>
              </a:buClr>
              <a:defRPr sz="1800" i="1">
                <a:solidFill>
                  <a:schemeClr val="accent3"/>
                </a:solidFill>
                <a:latin typeface="Georgia" pitchFamily="18" charset="0"/>
                <a:cs typeface="+mn-cs"/>
              </a:defRPr>
            </a:lvl1pPr>
          </a:lstStyle>
          <a:p>
            <a:pPr>
              <a:lnSpc>
                <a:spcPct val="95000"/>
              </a:lnSpc>
              <a:spcBef>
                <a:spcPts val="0"/>
              </a:spcBef>
              <a:buClr>
                <a:schemeClr val="bg2"/>
              </a:buClr>
            </a:pPr>
            <a:r>
              <a:rPr lang="ru-RU" sz="1100" b="1" i="0" dirty="0">
                <a:solidFill>
                  <a:schemeClr val="bg1"/>
                </a:solidFill>
                <a:latin typeface="+mn-lt"/>
              </a:rPr>
              <a:t>Капитальные затраты, </a:t>
            </a:r>
            <a:r>
              <a:rPr lang="ru-RU" sz="900" i="0" dirty="0">
                <a:solidFill>
                  <a:schemeClr val="bg1"/>
                </a:solidFill>
                <a:latin typeface="+mn-lt"/>
              </a:rPr>
              <a:t>млн </a:t>
            </a:r>
            <a:r>
              <a:rPr lang="ru-RU" sz="900" i="0" dirty="0" err="1">
                <a:solidFill>
                  <a:schemeClr val="bg1"/>
                </a:solidFill>
                <a:latin typeface="+mn-lt"/>
              </a:rPr>
              <a:t>руб</a:t>
            </a:r>
            <a:r>
              <a:rPr lang="en-US" sz="900" i="0" dirty="0">
                <a:solidFill>
                  <a:schemeClr val="bg1"/>
                </a:solidFill>
                <a:latin typeface="+mn-lt"/>
              </a:rPr>
              <a:t>.</a:t>
            </a:r>
            <a:endParaRPr lang="ru" sz="900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7" name="Rectangle 5">
            <a:extLst>
              <a:ext uri="{FF2B5EF4-FFF2-40B4-BE49-F238E27FC236}">
                <a16:creationId xmlns:a16="http://schemas.microsoft.com/office/drawing/2014/main" id="{EDD8F607-7DAD-4FE8-A470-C0080AC38B0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350781" y="1789216"/>
            <a:ext cx="3830210" cy="32133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txBody>
          <a:bodyPr vert="horz" wrap="square" lIns="73472" tIns="73472" rIns="73472" bIns="73472" rtlCol="0" anchor="ctr" anchorCtr="0">
            <a:noAutofit/>
          </a:bodyPr>
          <a:lstStyle>
            <a:defPPr>
              <a:defRPr lang="en-US"/>
            </a:defPPr>
            <a:lvl1pPr defTabSz="895350">
              <a:spcBef>
                <a:spcPts val="1200"/>
              </a:spcBef>
              <a:buClr>
                <a:schemeClr val="tx2"/>
              </a:buClr>
              <a:defRPr sz="1800" i="1">
                <a:solidFill>
                  <a:schemeClr val="accent3"/>
                </a:solidFill>
                <a:latin typeface="Georgia" pitchFamily="18" charset="0"/>
                <a:cs typeface="+mn-cs"/>
              </a:defRPr>
            </a:lvl1pPr>
          </a:lstStyle>
          <a:p>
            <a:pPr>
              <a:lnSpc>
                <a:spcPct val="95000"/>
              </a:lnSpc>
              <a:spcBef>
                <a:spcPts val="0"/>
              </a:spcBef>
              <a:buClr>
                <a:schemeClr val="bg2"/>
              </a:buClr>
            </a:pPr>
            <a:r>
              <a:rPr lang="ru-RU" sz="1200" b="1" i="0" dirty="0">
                <a:solidFill>
                  <a:schemeClr val="bg1"/>
                </a:solidFill>
                <a:latin typeface="+mn-lt"/>
              </a:rPr>
              <a:t>Текущий этап </a:t>
            </a:r>
            <a:endParaRPr lang="ru" sz="1200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9" name="Rectangle 5">
            <a:extLst>
              <a:ext uri="{FF2B5EF4-FFF2-40B4-BE49-F238E27FC236}">
                <a16:creationId xmlns:a16="http://schemas.microsoft.com/office/drawing/2014/main" id="{823D49F5-E4CB-464E-8F81-AEA7D35C14D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684040" y="2520908"/>
            <a:ext cx="1481260" cy="243115"/>
          </a:xfrm>
          <a:prstGeom prst="rect">
            <a:avLst/>
          </a:prstGeom>
          <a:solidFill>
            <a:schemeClr val="tx1"/>
          </a:solidFill>
          <a:ln w="3175">
            <a:solidFill>
              <a:schemeClr val="accent1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en-US"/>
            </a:defPPr>
            <a:lvl1pPr defTabSz="895350">
              <a:spcBef>
                <a:spcPts val="1200"/>
              </a:spcBef>
              <a:buClr>
                <a:schemeClr val="tx2"/>
              </a:buClr>
              <a:defRPr sz="1800" i="1">
                <a:solidFill>
                  <a:schemeClr val="accent3"/>
                </a:solidFill>
                <a:latin typeface="Georgia" pitchFamily="18" charset="0"/>
                <a:cs typeface="+mn-cs"/>
              </a:defRPr>
            </a:lvl1pPr>
          </a:lstStyle>
          <a:p>
            <a:pPr algn="ctr" rtl="0">
              <a:lnSpc>
                <a:spcPct val="95000"/>
              </a:lnSpc>
              <a:spcBef>
                <a:spcPts val="0"/>
              </a:spcBef>
              <a:buClr>
                <a:schemeClr val="lt1"/>
              </a:buClr>
            </a:pPr>
            <a:r>
              <a:rPr lang="ru-RU" sz="1200" b="1" i="0" dirty="0">
                <a:solidFill>
                  <a:schemeClr val="lt1"/>
                </a:solidFill>
                <a:latin typeface="+mn-lt"/>
              </a:rPr>
              <a:t>160</a:t>
            </a:r>
            <a:endParaRPr lang="ru" sz="1200" b="1" i="0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0" name="Rectangle 5">
            <a:extLst>
              <a:ext uri="{FF2B5EF4-FFF2-40B4-BE49-F238E27FC236}">
                <a16:creationId xmlns:a16="http://schemas.microsoft.com/office/drawing/2014/main" id="{85542AA6-2926-4668-B8B5-6E3AD1852DB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684042" y="3670868"/>
            <a:ext cx="1481258" cy="243115"/>
          </a:xfrm>
          <a:prstGeom prst="rect">
            <a:avLst/>
          </a:prstGeom>
          <a:solidFill>
            <a:schemeClr val="tx1"/>
          </a:solidFill>
          <a:ln w="3175">
            <a:solidFill>
              <a:schemeClr val="accent1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en-US"/>
            </a:defPPr>
            <a:lvl1pPr defTabSz="895350">
              <a:spcBef>
                <a:spcPts val="1200"/>
              </a:spcBef>
              <a:buClr>
                <a:schemeClr val="tx2"/>
              </a:buClr>
              <a:defRPr sz="1800" i="1">
                <a:solidFill>
                  <a:schemeClr val="accent3"/>
                </a:solidFill>
                <a:latin typeface="Georgia" pitchFamily="18" charset="0"/>
                <a:cs typeface="+mn-cs"/>
              </a:defRPr>
            </a:lvl1pPr>
          </a:lstStyle>
          <a:p>
            <a:pPr algn="ctr" rtl="0">
              <a:lnSpc>
                <a:spcPct val="95000"/>
              </a:lnSpc>
              <a:spcBef>
                <a:spcPts val="0"/>
              </a:spcBef>
              <a:buClr>
                <a:schemeClr val="lt1"/>
              </a:buClr>
            </a:pPr>
            <a:r>
              <a:rPr lang="ru-RU" sz="1200" b="1" i="0" dirty="0">
                <a:solidFill>
                  <a:schemeClr val="lt1"/>
                </a:solidFill>
                <a:latin typeface="+mn-lt"/>
              </a:rPr>
              <a:t>30</a:t>
            </a:r>
            <a:endParaRPr lang="ru" sz="1200" b="1" i="0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9A8AD04-4C9B-42F8-98F3-6985F0C88ADE}"/>
              </a:ext>
            </a:extLst>
          </p:cNvPr>
          <p:cNvSpPr txBox="1"/>
          <p:nvPr/>
        </p:nvSpPr>
        <p:spPr>
          <a:xfrm>
            <a:off x="11309844" y="1857552"/>
            <a:ext cx="63051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sz="1600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ru-RU" sz="1600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600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ru-RU" sz="1600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600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1200" b="1" dirty="0">
                <a:solidFill>
                  <a:schemeClr val="bg1"/>
                </a:solidFill>
              </a:rPr>
              <a:t>L</a:t>
            </a:r>
            <a:r>
              <a:rPr lang="ru-RU" sz="12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2" name="Rectangle 5">
            <a:extLst>
              <a:ext uri="{FF2B5EF4-FFF2-40B4-BE49-F238E27FC236}">
                <a16:creationId xmlns:a16="http://schemas.microsoft.com/office/drawing/2014/main" id="{F37DF759-7E16-4659-ACBC-6C678E5C294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350779" y="4034923"/>
            <a:ext cx="3830212" cy="32133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txBody>
          <a:bodyPr vert="horz" wrap="square" lIns="73472" tIns="73472" rIns="73472" bIns="73472" rtlCol="0" anchor="ctr" anchorCtr="0">
            <a:noAutofit/>
          </a:bodyPr>
          <a:lstStyle>
            <a:defPPr>
              <a:defRPr lang="en-US"/>
            </a:defPPr>
            <a:lvl1pPr defTabSz="895350">
              <a:spcBef>
                <a:spcPts val="1200"/>
              </a:spcBef>
              <a:buClr>
                <a:schemeClr val="tx2"/>
              </a:buClr>
              <a:defRPr sz="1800" i="1">
                <a:solidFill>
                  <a:schemeClr val="accent3"/>
                </a:solidFill>
                <a:latin typeface="Georgia" pitchFamily="18" charset="0"/>
                <a:cs typeface="+mn-cs"/>
              </a:defRPr>
            </a:lvl1pPr>
          </a:lstStyle>
          <a:p>
            <a:pPr>
              <a:lnSpc>
                <a:spcPct val="95000"/>
              </a:lnSpc>
              <a:spcBef>
                <a:spcPts val="0"/>
              </a:spcBef>
              <a:buClr>
                <a:schemeClr val="bg2"/>
              </a:buClr>
            </a:pPr>
            <a:r>
              <a:rPr lang="ru-RU" sz="1100" b="1" i="0" dirty="0">
                <a:solidFill>
                  <a:schemeClr val="bg1"/>
                </a:solidFill>
                <a:latin typeface="+mn-lt"/>
              </a:rPr>
              <a:t>Операционные затраты,</a:t>
            </a:r>
            <a:r>
              <a:rPr lang="ru-RU" sz="1200" b="1" i="0" dirty="0">
                <a:solidFill>
                  <a:schemeClr val="bg1"/>
                </a:solidFill>
                <a:latin typeface="+mn-lt"/>
              </a:rPr>
              <a:t> </a:t>
            </a:r>
            <a:r>
              <a:rPr lang="ru-RU" sz="900" i="0" dirty="0">
                <a:solidFill>
                  <a:schemeClr val="bg1"/>
                </a:solidFill>
                <a:latin typeface="+mn-lt"/>
              </a:rPr>
              <a:t>млн </a:t>
            </a:r>
            <a:r>
              <a:rPr lang="ru-RU" sz="900" i="0" dirty="0" err="1">
                <a:solidFill>
                  <a:schemeClr val="bg1"/>
                </a:solidFill>
                <a:latin typeface="+mn-lt"/>
              </a:rPr>
              <a:t>руб</a:t>
            </a:r>
            <a:r>
              <a:rPr lang="en-US" sz="900" i="0" dirty="0">
                <a:solidFill>
                  <a:schemeClr val="bg1"/>
                </a:solidFill>
                <a:latin typeface="+mn-lt"/>
              </a:rPr>
              <a:t>.</a:t>
            </a:r>
            <a:endParaRPr lang="ru" sz="900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3" name="Rectangle 5">
            <a:extLst>
              <a:ext uri="{FF2B5EF4-FFF2-40B4-BE49-F238E27FC236}">
                <a16:creationId xmlns:a16="http://schemas.microsoft.com/office/drawing/2014/main" id="{A30C6047-91D2-48AF-B3AD-3A1EBB7010A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688724" y="4074035"/>
            <a:ext cx="1481258" cy="243115"/>
          </a:xfrm>
          <a:prstGeom prst="rect">
            <a:avLst/>
          </a:prstGeom>
          <a:solidFill>
            <a:schemeClr val="tx1"/>
          </a:solidFill>
          <a:ln w="3175">
            <a:solidFill>
              <a:schemeClr val="accent1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en-US"/>
            </a:defPPr>
            <a:lvl1pPr defTabSz="895350">
              <a:spcBef>
                <a:spcPts val="1200"/>
              </a:spcBef>
              <a:buClr>
                <a:schemeClr val="tx2"/>
              </a:buClr>
              <a:defRPr sz="1800" i="1">
                <a:solidFill>
                  <a:schemeClr val="accent3"/>
                </a:solidFill>
                <a:latin typeface="Georgia" pitchFamily="18" charset="0"/>
                <a:cs typeface="+mn-cs"/>
              </a:defRPr>
            </a:lvl1pPr>
          </a:lstStyle>
          <a:p>
            <a:pPr algn="ctr">
              <a:lnSpc>
                <a:spcPct val="95000"/>
              </a:lnSpc>
              <a:spcBef>
                <a:spcPts val="0"/>
              </a:spcBef>
              <a:buClr>
                <a:schemeClr val="lt1"/>
              </a:buClr>
            </a:pPr>
            <a:r>
              <a:rPr lang="ru-RU" sz="1000" b="1" i="0" dirty="0">
                <a:solidFill>
                  <a:schemeClr val="lt1"/>
                </a:solidFill>
                <a:latin typeface="+mn-lt"/>
              </a:rPr>
              <a:t>-</a:t>
            </a:r>
          </a:p>
        </p:txBody>
      </p:sp>
      <p:sp>
        <p:nvSpPr>
          <p:cNvPr id="55" name="Rectangle 5">
            <a:extLst>
              <a:ext uri="{FF2B5EF4-FFF2-40B4-BE49-F238E27FC236}">
                <a16:creationId xmlns:a16="http://schemas.microsoft.com/office/drawing/2014/main" id="{BCE24F83-16C9-4772-ABDE-1E9B980E0E1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350780" y="2859053"/>
            <a:ext cx="3814519" cy="32133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noFill/>
          </a:ln>
        </p:spPr>
        <p:txBody>
          <a:bodyPr vert="horz" wrap="square" lIns="73472" tIns="73472" rIns="73472" bIns="73472" rtlCol="0" anchor="ctr" anchorCtr="0">
            <a:noAutofit/>
          </a:bodyPr>
          <a:lstStyle>
            <a:defPPr>
              <a:defRPr lang="en-US"/>
            </a:defPPr>
            <a:lvl1pPr defTabSz="895350">
              <a:spcBef>
                <a:spcPts val="1200"/>
              </a:spcBef>
              <a:buClr>
                <a:schemeClr val="tx2"/>
              </a:buClr>
              <a:defRPr sz="1800" i="1">
                <a:solidFill>
                  <a:schemeClr val="accent3"/>
                </a:solidFill>
                <a:latin typeface="Georgia" pitchFamily="18" charset="0"/>
                <a:cs typeface="+mn-cs"/>
              </a:defRPr>
            </a:lvl1pPr>
          </a:lstStyle>
          <a:p>
            <a:pPr>
              <a:lnSpc>
                <a:spcPct val="95000"/>
              </a:lnSpc>
              <a:spcBef>
                <a:spcPts val="0"/>
              </a:spcBef>
              <a:buClr>
                <a:schemeClr val="bg2"/>
              </a:buClr>
            </a:pPr>
            <a:r>
              <a:rPr lang="ru-RU" sz="1100" b="1" i="0" dirty="0">
                <a:solidFill>
                  <a:schemeClr val="bg1"/>
                </a:solidFill>
                <a:latin typeface="+mn-lt"/>
              </a:rPr>
              <a:t>Эффект на снижении НЗП, </a:t>
            </a:r>
          </a:p>
          <a:p>
            <a:pPr>
              <a:lnSpc>
                <a:spcPct val="95000"/>
              </a:lnSpc>
              <a:spcBef>
                <a:spcPts val="0"/>
              </a:spcBef>
              <a:buClr>
                <a:schemeClr val="bg2"/>
              </a:buClr>
            </a:pPr>
            <a:r>
              <a:rPr lang="ru-RU" sz="1100" b="1" i="0" dirty="0">
                <a:solidFill>
                  <a:schemeClr val="bg1"/>
                </a:solidFill>
                <a:latin typeface="+mn-lt"/>
              </a:rPr>
              <a:t>запаса отходов, ГП, т.</a:t>
            </a:r>
          </a:p>
        </p:txBody>
      </p:sp>
      <p:sp>
        <p:nvSpPr>
          <p:cNvPr id="56" name="Rectangle 5">
            <a:extLst>
              <a:ext uri="{FF2B5EF4-FFF2-40B4-BE49-F238E27FC236}">
                <a16:creationId xmlns:a16="http://schemas.microsoft.com/office/drawing/2014/main" id="{823D49F5-E4CB-464E-8F81-AEA7D35C14D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684040" y="2895477"/>
            <a:ext cx="1481260" cy="243115"/>
          </a:xfrm>
          <a:prstGeom prst="rect">
            <a:avLst/>
          </a:prstGeom>
          <a:solidFill>
            <a:schemeClr val="tx1"/>
          </a:solidFill>
          <a:ln w="3175">
            <a:solidFill>
              <a:schemeClr val="accent1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en-US"/>
            </a:defPPr>
            <a:lvl1pPr defTabSz="895350">
              <a:spcBef>
                <a:spcPts val="1200"/>
              </a:spcBef>
              <a:buClr>
                <a:schemeClr val="tx2"/>
              </a:buClr>
              <a:defRPr sz="1800" i="1">
                <a:solidFill>
                  <a:schemeClr val="accent3"/>
                </a:solidFill>
                <a:latin typeface="Georgia" pitchFamily="18" charset="0"/>
                <a:cs typeface="+mn-cs"/>
              </a:defRPr>
            </a:lvl1pPr>
          </a:lstStyle>
          <a:p>
            <a:pPr algn="ctr" rtl="0">
              <a:lnSpc>
                <a:spcPct val="95000"/>
              </a:lnSpc>
              <a:spcBef>
                <a:spcPts val="0"/>
              </a:spcBef>
              <a:buClr>
                <a:schemeClr val="lt1"/>
              </a:buClr>
            </a:pPr>
            <a:r>
              <a:rPr lang="ru-RU" sz="1200" b="1" i="0" dirty="0">
                <a:solidFill>
                  <a:schemeClr val="lt1"/>
                </a:solidFill>
                <a:latin typeface="+mn-lt"/>
              </a:rPr>
              <a:t>100; 80; 180</a:t>
            </a:r>
            <a:endParaRPr lang="ru" sz="1200" b="1" i="0" dirty="0">
              <a:solidFill>
                <a:schemeClr val="lt1"/>
              </a:solidFill>
              <a:latin typeface="+mn-lt"/>
            </a:endParaRPr>
          </a:p>
        </p:txBody>
      </p:sp>
      <p:cxnSp>
        <p:nvCxnSpPr>
          <p:cNvPr id="57" name="Straight Connector 264">
            <a:extLst>
              <a:ext uri="{FF2B5EF4-FFF2-40B4-BE49-F238E27FC236}">
                <a16:creationId xmlns:a16="http://schemas.microsoft.com/office/drawing/2014/main" id="{10B95D51-097A-4CBD-A2D4-F167A47C97A6}"/>
              </a:ext>
            </a:extLst>
          </p:cNvPr>
          <p:cNvCxnSpPr>
            <a:cxnSpLocks/>
          </p:cNvCxnSpPr>
          <p:nvPr/>
        </p:nvCxnSpPr>
        <p:spPr bwMode="gray">
          <a:xfrm>
            <a:off x="118615" y="4876996"/>
            <a:ext cx="7893802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320A786A-BB91-45AD-9E03-8FDCF6B209CA}"/>
              </a:ext>
            </a:extLst>
          </p:cNvPr>
          <p:cNvSpPr txBox="1">
            <a:spLocks/>
          </p:cNvSpPr>
          <p:nvPr/>
        </p:nvSpPr>
        <p:spPr bwMode="gray">
          <a:xfrm>
            <a:off x="135847" y="5130816"/>
            <a:ext cx="4435973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sz="1600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ru-RU" sz="1600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600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ru-RU" sz="1600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600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55562" lvl="1" indent="0">
              <a:buNone/>
            </a:pPr>
            <a:r>
              <a:rPr lang="ru-RU" sz="1200" dirty="0">
                <a:solidFill>
                  <a:srgbClr val="262626"/>
                </a:solidFill>
              </a:rPr>
              <a:t>3. Разработка и внедрение автоматизированной системы производственного планирования (основываясь на опыте </a:t>
            </a:r>
            <a:br>
              <a:rPr lang="ru-RU" sz="1200" dirty="0">
                <a:solidFill>
                  <a:srgbClr val="262626"/>
                </a:solidFill>
              </a:rPr>
            </a:br>
            <a:r>
              <a:rPr lang="ru-RU" sz="1200" dirty="0">
                <a:solidFill>
                  <a:srgbClr val="262626"/>
                </a:solidFill>
              </a:rPr>
              <a:t>АО «ЭКЗ») (затраты 5 млн. руб.)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3E0E7AD-4D39-44CD-948A-B058A1CEBA56}"/>
              </a:ext>
            </a:extLst>
          </p:cNvPr>
          <p:cNvSpPr txBox="1">
            <a:spLocks/>
          </p:cNvSpPr>
          <p:nvPr/>
        </p:nvSpPr>
        <p:spPr bwMode="gray">
          <a:xfrm>
            <a:off x="4852484" y="5089695"/>
            <a:ext cx="980674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sz="1600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ru-RU" sz="1600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600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ru-RU" sz="1600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600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ru-RU" sz="1200" dirty="0">
                <a:solidFill>
                  <a:schemeClr val="bg1"/>
                </a:solidFill>
              </a:rPr>
              <a:t>Июль 2025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C5142430-B742-42CC-8E0C-DB0E5162EEE1}"/>
              </a:ext>
            </a:extLst>
          </p:cNvPr>
          <p:cNvSpPr txBox="1">
            <a:spLocks/>
          </p:cNvSpPr>
          <p:nvPr/>
        </p:nvSpPr>
        <p:spPr bwMode="gray">
          <a:xfrm>
            <a:off x="6150277" y="5107765"/>
            <a:ext cx="2088731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sz="1600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ru-RU" sz="1600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sz="1600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ru-RU" sz="1600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sz="1600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ru-RU" sz="1200" dirty="0">
                <a:solidFill>
                  <a:schemeClr val="bg1"/>
                </a:solidFill>
              </a:rPr>
              <a:t>Агафонов А.А.</a:t>
            </a:r>
          </a:p>
        </p:txBody>
      </p:sp>
      <p:grpSp>
        <p:nvGrpSpPr>
          <p:cNvPr id="74" name="Группа 73"/>
          <p:cNvGrpSpPr/>
          <p:nvPr/>
        </p:nvGrpSpPr>
        <p:grpSpPr>
          <a:xfrm>
            <a:off x="10217222" y="147360"/>
            <a:ext cx="1339703" cy="873832"/>
            <a:chOff x="10162817" y="117563"/>
            <a:chExt cx="1339703" cy="873832"/>
          </a:xfrm>
        </p:grpSpPr>
        <p:sp>
          <p:nvSpPr>
            <p:cNvPr id="75" name="Прямоугольник 74"/>
            <p:cNvSpPr/>
            <p:nvPr/>
          </p:nvSpPr>
          <p:spPr>
            <a:xfrm>
              <a:off x="10162817" y="117563"/>
              <a:ext cx="1339703" cy="87383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90000" rIns="46800" bIns="46800" rtlCol="0" anchor="t"/>
            <a:lstStyle/>
            <a:p>
              <a:pPr algn="l"/>
              <a:endParaRPr lang="en-US" sz="1200" dirty="0">
                <a:solidFill>
                  <a:schemeClr val="tx1"/>
                </a:solidFill>
              </a:endParaRPr>
            </a:p>
          </p:txBody>
        </p:sp>
        <p:pic>
          <p:nvPicPr>
            <p:cNvPr id="76" name="Рисунок 75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543430" y="168388"/>
              <a:ext cx="767558" cy="7835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291761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7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Группа 6"/>
          <p:cNvGrpSpPr/>
          <p:nvPr/>
        </p:nvGrpSpPr>
        <p:grpSpPr>
          <a:xfrm>
            <a:off x="10162817" y="117563"/>
            <a:ext cx="1339703" cy="873832"/>
            <a:chOff x="10162817" y="117563"/>
            <a:chExt cx="1339703" cy="873832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10162817" y="117563"/>
              <a:ext cx="1339703" cy="87383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90000" rIns="46800" bIns="46800" rtlCol="0" anchor="t"/>
            <a:lstStyle/>
            <a:p>
              <a:pPr algn="l"/>
              <a:endParaRPr lang="en-US" sz="1200" dirty="0">
                <a:solidFill>
                  <a:schemeClr val="tx1"/>
                </a:solidFill>
              </a:endParaRPr>
            </a:p>
          </p:txBody>
        </p:sp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543430" y="168388"/>
              <a:ext cx="767558" cy="783532"/>
            </a:xfrm>
            <a:prstGeom prst="rect">
              <a:avLst/>
            </a:prstGeom>
          </p:spPr>
        </p:pic>
      </p:grp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817372" y="222080"/>
            <a:ext cx="9072000" cy="553998"/>
          </a:xfrm>
        </p:spPr>
        <p:txBody>
          <a:bodyPr vert="horz"/>
          <a:lstStyle/>
          <a:p>
            <a:r>
              <a:rPr lang="ru-RU" sz="2000" dirty="0">
                <a:latin typeface="+mj-lt"/>
              </a:rPr>
              <a:t>План-график к инициативе по разработке и совершенствованию системы планирования </a:t>
            </a:r>
            <a:r>
              <a:rPr lang="ru-RU" sz="2000" dirty="0" smtClean="0">
                <a:latin typeface="+mj-lt"/>
              </a:rPr>
              <a:t>производства (фрагмент)</a:t>
            </a:r>
            <a:endParaRPr lang="ru-RU" sz="2000" dirty="0">
              <a:latin typeface="+mj-lt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5969836"/>
              </p:ext>
            </p:extLst>
          </p:nvPr>
        </p:nvGraphicFramePr>
        <p:xfrm>
          <a:off x="660912" y="1162221"/>
          <a:ext cx="11235251" cy="3239449"/>
        </p:xfrm>
        <a:graphic>
          <a:graphicData uri="http://schemas.openxmlformats.org/drawingml/2006/table">
            <a:tbl>
              <a:tblPr/>
              <a:tblGrid>
                <a:gridCol w="3142007">
                  <a:extLst>
                    <a:ext uri="{9D8B030D-6E8A-4147-A177-3AD203B41FA5}">
                      <a16:colId xmlns:a16="http://schemas.microsoft.com/office/drawing/2014/main" val="3403212723"/>
                    </a:ext>
                  </a:extLst>
                </a:gridCol>
                <a:gridCol w="1930959">
                  <a:extLst>
                    <a:ext uri="{9D8B030D-6E8A-4147-A177-3AD203B41FA5}">
                      <a16:colId xmlns:a16="http://schemas.microsoft.com/office/drawing/2014/main" val="986538562"/>
                    </a:ext>
                  </a:extLst>
                </a:gridCol>
                <a:gridCol w="621265">
                  <a:extLst>
                    <a:ext uri="{9D8B030D-6E8A-4147-A177-3AD203B41FA5}">
                      <a16:colId xmlns:a16="http://schemas.microsoft.com/office/drawing/2014/main" val="2141631282"/>
                    </a:ext>
                  </a:extLst>
                </a:gridCol>
                <a:gridCol w="277051">
                  <a:extLst>
                    <a:ext uri="{9D8B030D-6E8A-4147-A177-3AD203B41FA5}">
                      <a16:colId xmlns:a16="http://schemas.microsoft.com/office/drawing/2014/main" val="2794387791"/>
                    </a:ext>
                  </a:extLst>
                </a:gridCol>
                <a:gridCol w="277051">
                  <a:extLst>
                    <a:ext uri="{9D8B030D-6E8A-4147-A177-3AD203B41FA5}">
                      <a16:colId xmlns:a16="http://schemas.microsoft.com/office/drawing/2014/main" val="779158201"/>
                    </a:ext>
                  </a:extLst>
                </a:gridCol>
                <a:gridCol w="277051">
                  <a:extLst>
                    <a:ext uri="{9D8B030D-6E8A-4147-A177-3AD203B41FA5}">
                      <a16:colId xmlns:a16="http://schemas.microsoft.com/office/drawing/2014/main" val="3880406702"/>
                    </a:ext>
                  </a:extLst>
                </a:gridCol>
                <a:gridCol w="277051">
                  <a:extLst>
                    <a:ext uri="{9D8B030D-6E8A-4147-A177-3AD203B41FA5}">
                      <a16:colId xmlns:a16="http://schemas.microsoft.com/office/drawing/2014/main" val="3631457057"/>
                    </a:ext>
                  </a:extLst>
                </a:gridCol>
                <a:gridCol w="277051">
                  <a:extLst>
                    <a:ext uri="{9D8B030D-6E8A-4147-A177-3AD203B41FA5}">
                      <a16:colId xmlns:a16="http://schemas.microsoft.com/office/drawing/2014/main" val="75764221"/>
                    </a:ext>
                  </a:extLst>
                </a:gridCol>
                <a:gridCol w="277051">
                  <a:extLst>
                    <a:ext uri="{9D8B030D-6E8A-4147-A177-3AD203B41FA5}">
                      <a16:colId xmlns:a16="http://schemas.microsoft.com/office/drawing/2014/main" val="2389349241"/>
                    </a:ext>
                  </a:extLst>
                </a:gridCol>
                <a:gridCol w="277051">
                  <a:extLst>
                    <a:ext uri="{9D8B030D-6E8A-4147-A177-3AD203B41FA5}">
                      <a16:colId xmlns:a16="http://schemas.microsoft.com/office/drawing/2014/main" val="4073762146"/>
                    </a:ext>
                  </a:extLst>
                </a:gridCol>
                <a:gridCol w="277051">
                  <a:extLst>
                    <a:ext uri="{9D8B030D-6E8A-4147-A177-3AD203B41FA5}">
                      <a16:colId xmlns:a16="http://schemas.microsoft.com/office/drawing/2014/main" val="6410817"/>
                    </a:ext>
                  </a:extLst>
                </a:gridCol>
                <a:gridCol w="277051">
                  <a:extLst>
                    <a:ext uri="{9D8B030D-6E8A-4147-A177-3AD203B41FA5}">
                      <a16:colId xmlns:a16="http://schemas.microsoft.com/office/drawing/2014/main" val="1895089536"/>
                    </a:ext>
                  </a:extLst>
                </a:gridCol>
                <a:gridCol w="277051">
                  <a:extLst>
                    <a:ext uri="{9D8B030D-6E8A-4147-A177-3AD203B41FA5}">
                      <a16:colId xmlns:a16="http://schemas.microsoft.com/office/drawing/2014/main" val="1013155491"/>
                    </a:ext>
                  </a:extLst>
                </a:gridCol>
                <a:gridCol w="277051">
                  <a:extLst>
                    <a:ext uri="{9D8B030D-6E8A-4147-A177-3AD203B41FA5}">
                      <a16:colId xmlns:a16="http://schemas.microsoft.com/office/drawing/2014/main" val="915895749"/>
                    </a:ext>
                  </a:extLst>
                </a:gridCol>
                <a:gridCol w="277051">
                  <a:extLst>
                    <a:ext uri="{9D8B030D-6E8A-4147-A177-3AD203B41FA5}">
                      <a16:colId xmlns:a16="http://schemas.microsoft.com/office/drawing/2014/main" val="2429772827"/>
                    </a:ext>
                  </a:extLst>
                </a:gridCol>
                <a:gridCol w="277051">
                  <a:extLst>
                    <a:ext uri="{9D8B030D-6E8A-4147-A177-3AD203B41FA5}">
                      <a16:colId xmlns:a16="http://schemas.microsoft.com/office/drawing/2014/main" val="235302360"/>
                    </a:ext>
                  </a:extLst>
                </a:gridCol>
                <a:gridCol w="277051">
                  <a:extLst>
                    <a:ext uri="{9D8B030D-6E8A-4147-A177-3AD203B41FA5}">
                      <a16:colId xmlns:a16="http://schemas.microsoft.com/office/drawing/2014/main" val="3090622847"/>
                    </a:ext>
                  </a:extLst>
                </a:gridCol>
                <a:gridCol w="831153">
                  <a:extLst>
                    <a:ext uri="{9D8B030D-6E8A-4147-A177-3AD203B41FA5}">
                      <a16:colId xmlns:a16="http://schemas.microsoft.com/office/drawing/2014/main" val="317598769"/>
                    </a:ext>
                  </a:extLst>
                </a:gridCol>
                <a:gridCol w="831153">
                  <a:extLst>
                    <a:ext uri="{9D8B030D-6E8A-4147-A177-3AD203B41FA5}">
                      <a16:colId xmlns:a16="http://schemas.microsoft.com/office/drawing/2014/main" val="1010788273"/>
                    </a:ext>
                  </a:extLst>
                </a:gridCol>
              </a:tblGrid>
              <a:tr h="104060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нициативы и вехи их реализации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онечный продукт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роки выполнения 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Январь 2024</a:t>
                      </a:r>
                    </a:p>
                  </a:txBody>
                  <a:tcPr marL="5894" marR="5894" marT="5894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арт 2024</a:t>
                      </a:r>
                    </a:p>
                  </a:txBody>
                  <a:tcPr marL="5894" marR="5894" marT="5894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прель 2024</a:t>
                      </a:r>
                    </a:p>
                  </a:txBody>
                  <a:tcPr marL="5894" marR="5894" marT="5894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ай 2024</a:t>
                      </a:r>
                    </a:p>
                  </a:txBody>
                  <a:tcPr marL="5894" marR="5894" marT="5894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юнь 2024</a:t>
                      </a:r>
                    </a:p>
                  </a:txBody>
                  <a:tcPr marL="5894" marR="5894" marT="5894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юль 2024</a:t>
                      </a:r>
                    </a:p>
                  </a:txBody>
                  <a:tcPr marL="5894" marR="5894" marT="5894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вгуст 2024</a:t>
                      </a:r>
                    </a:p>
                  </a:txBody>
                  <a:tcPr marL="5894" marR="5894" marT="5894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ентябрь 2024</a:t>
                      </a:r>
                    </a:p>
                  </a:txBody>
                  <a:tcPr marL="5894" marR="5894" marT="5894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ктябрь 2024</a:t>
                      </a:r>
                    </a:p>
                  </a:txBody>
                  <a:tcPr marL="5894" marR="5894" marT="5894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оябрь 2024</a:t>
                      </a:r>
                    </a:p>
                  </a:txBody>
                  <a:tcPr marL="5894" marR="5894" marT="5894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Декабрь 2024</a:t>
                      </a:r>
                    </a:p>
                  </a:txBody>
                  <a:tcPr marL="5894" marR="5894" marT="5894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Январь 2025</a:t>
                      </a:r>
                    </a:p>
                  </a:txBody>
                  <a:tcPr marL="5894" marR="5894" marT="5894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прель 2025</a:t>
                      </a:r>
                    </a:p>
                  </a:txBody>
                  <a:tcPr marL="5894" marR="5894" marT="5894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юль 2025</a:t>
                      </a:r>
                    </a:p>
                  </a:txBody>
                  <a:tcPr marL="5894" marR="5894" marT="5894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ветственный исполнитель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омментарий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5676528"/>
                  </a:ext>
                </a:extLst>
              </a:tr>
              <a:tr h="515778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 Изменение структуры производственного отдела с разделением функционала управления производством и взаимодействия с отделом сбыта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ргструктура. Штатное расписание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 gridSpan="17"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0799649"/>
                  </a:ext>
                </a:extLst>
              </a:tr>
              <a:tr h="723899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комплектовать штат производственного отдела штатной единицей с функционалом: </a:t>
                      </a:r>
                      <a:b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</a:b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 расчеты плановой загрузки оборудования и технологических цепочек;</a:t>
                      </a:r>
                      <a:b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</a:b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 контроль и управление фактической загрузкой технологических цепочек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дровый приказ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ай 2024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%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.А. Агафонов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400686"/>
                  </a:ext>
                </a:extLst>
              </a:tr>
              <a:tr h="597217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знакомится с опытом внедрения и функционирования автоматической системы планирования производства на АО "ЭКЗ" г.Кольчугино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чет о командировке с рекомендациями для составления техзадания автоматизированной системы планирования АО "КЗОЦМ"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вгуст 2024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%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.А. Агафонов          Е.В. Русинов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128654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верка и актуализация шаблонов по расчету загрузки технологического оборудования и фактической длительности производственного цикла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змененная методика определения планового уровня загрузки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Январь 2025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%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.А. Агафонов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94" marR="5894" marT="58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7308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68685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1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332399"/>
          </a:xfrm>
        </p:spPr>
        <p:txBody>
          <a:bodyPr vert="horz"/>
          <a:lstStyle/>
          <a:p>
            <a:r>
              <a:rPr lang="ru-RU" dirty="0">
                <a:latin typeface="+mj-lt"/>
              </a:rPr>
              <a:t>Преимущества. Экономический эффект.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10162817" y="117563"/>
            <a:ext cx="1339703" cy="873832"/>
            <a:chOff x="10162817" y="117563"/>
            <a:chExt cx="1339703" cy="873832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10162817" y="117563"/>
              <a:ext cx="1339703" cy="87383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90000" rIns="46800" bIns="46800" rtlCol="0" anchor="t"/>
            <a:lstStyle/>
            <a:p>
              <a:pPr algn="l"/>
              <a:endParaRPr lang="en-US" sz="1200" dirty="0">
                <a:solidFill>
                  <a:schemeClr val="tx1"/>
                </a:solidFill>
              </a:endParaRPr>
            </a:p>
          </p:txBody>
        </p:sp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543430" y="168388"/>
              <a:ext cx="767558" cy="783532"/>
            </a:xfrm>
            <a:prstGeom prst="rect">
              <a:avLst/>
            </a:prstGeom>
          </p:spPr>
        </p:pic>
      </p:grpSp>
      <p:sp>
        <p:nvSpPr>
          <p:cNvPr id="10" name="Заголовок 1"/>
          <p:cNvSpPr txBox="1">
            <a:spLocks/>
          </p:cNvSpPr>
          <p:nvPr/>
        </p:nvSpPr>
        <p:spPr>
          <a:xfrm>
            <a:off x="652039" y="1042221"/>
            <a:ext cx="9891391" cy="329320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800"/>
              </a:spcBef>
            </a:pPr>
            <a:r>
              <a:rPr lang="ru-RU" sz="1400" b="0" dirty="0">
                <a:solidFill>
                  <a:prstClr val="black"/>
                </a:solidFill>
                <a:latin typeface="+mn-lt"/>
                <a:ea typeface="Roboto" panose="02000000000000000000" pitchFamily="2" charset="0"/>
                <a:cs typeface="+mn-cs"/>
              </a:rPr>
              <a:t>За счет изменений в системе планирования производством, снизить уровень:</a:t>
            </a:r>
          </a:p>
          <a:p>
            <a:pPr lvl="0">
              <a:lnSpc>
                <a:spcPct val="100000"/>
              </a:lnSpc>
              <a:spcBef>
                <a:spcPts val="800"/>
              </a:spcBef>
            </a:pPr>
            <a:r>
              <a:rPr lang="ru-RU" sz="1400" b="0" dirty="0">
                <a:solidFill>
                  <a:prstClr val="black"/>
                </a:solidFill>
                <a:latin typeface="+mn-lt"/>
                <a:ea typeface="Roboto" panose="02000000000000000000" pitchFamily="2" charset="0"/>
                <a:cs typeface="+mn-cs"/>
              </a:rPr>
              <a:t>- незавершенного производства на 100 тонн;</a:t>
            </a:r>
          </a:p>
          <a:p>
            <a:pPr lvl="0">
              <a:lnSpc>
                <a:spcPct val="100000"/>
              </a:lnSpc>
              <a:spcBef>
                <a:spcPts val="800"/>
              </a:spcBef>
            </a:pPr>
            <a:r>
              <a:rPr lang="ru-RU" sz="1400" b="0" dirty="0">
                <a:solidFill>
                  <a:prstClr val="black"/>
                </a:solidFill>
                <a:latin typeface="+mn-lt"/>
                <a:ea typeface="Roboto" panose="02000000000000000000" pitchFamily="2" charset="0"/>
                <a:cs typeface="+mn-cs"/>
              </a:rPr>
              <a:t>- остатка отходов в отделе сырья на 80 тонн; </a:t>
            </a:r>
          </a:p>
          <a:p>
            <a:pPr lvl="0">
              <a:lnSpc>
                <a:spcPct val="100000"/>
              </a:lnSpc>
              <a:spcBef>
                <a:spcPts val="800"/>
              </a:spcBef>
            </a:pPr>
            <a:r>
              <a:rPr lang="ru-RU" sz="1400" b="0" dirty="0">
                <a:solidFill>
                  <a:prstClr val="black"/>
                </a:solidFill>
                <a:latin typeface="+mn-lt"/>
                <a:ea typeface="Roboto" panose="02000000000000000000" pitchFamily="2" charset="0"/>
                <a:cs typeface="+mn-cs"/>
              </a:rPr>
              <a:t>- запасов готовой продукции на 180 тонн.</a:t>
            </a:r>
          </a:p>
          <a:p>
            <a:pPr lvl="0">
              <a:lnSpc>
                <a:spcPct val="100000"/>
              </a:lnSpc>
              <a:spcBef>
                <a:spcPts val="800"/>
              </a:spcBef>
            </a:pPr>
            <a:r>
              <a:rPr lang="ru-RU" sz="1400" b="0" dirty="0">
                <a:solidFill>
                  <a:prstClr val="black"/>
                </a:solidFill>
                <a:latin typeface="+mn-lt"/>
                <a:ea typeface="Roboto" panose="02000000000000000000" pitchFamily="2" charset="0"/>
                <a:cs typeface="+mn-cs"/>
              </a:rPr>
              <a:t>Экономический эффект:</a:t>
            </a:r>
          </a:p>
          <a:p>
            <a:pPr marL="228600" lvl="0" indent="-228600">
              <a:lnSpc>
                <a:spcPct val="100000"/>
              </a:lnSpc>
              <a:spcBef>
                <a:spcPts val="800"/>
              </a:spcBef>
              <a:buFontTx/>
              <a:buChar char="-"/>
            </a:pPr>
            <a:r>
              <a:rPr lang="ru-RU" sz="1400" b="0" dirty="0">
                <a:solidFill>
                  <a:prstClr val="black"/>
                </a:solidFill>
                <a:latin typeface="+mn-lt"/>
                <a:ea typeface="Roboto" panose="02000000000000000000" pitchFamily="2" charset="0"/>
                <a:cs typeface="+mn-cs"/>
              </a:rPr>
              <a:t>Эффект на </a:t>
            </a:r>
            <a:r>
              <a:rPr lang="en-US" sz="1400" b="0" dirty="0">
                <a:solidFill>
                  <a:prstClr val="black"/>
                </a:solidFill>
                <a:latin typeface="+mn-lt"/>
                <a:ea typeface="Roboto" panose="02000000000000000000" pitchFamily="2" charset="0"/>
                <a:cs typeface="+mn-cs"/>
              </a:rPr>
              <a:t>FCF</a:t>
            </a:r>
            <a:r>
              <a:rPr lang="ru-RU" sz="1400" b="0" dirty="0">
                <a:solidFill>
                  <a:prstClr val="black"/>
                </a:solidFill>
                <a:latin typeface="+mn-lt"/>
                <a:ea typeface="Roboto" panose="02000000000000000000" pitchFamily="2" charset="0"/>
                <a:cs typeface="+mn-cs"/>
              </a:rPr>
              <a:t> - 160 млн. рублей;</a:t>
            </a:r>
          </a:p>
          <a:p>
            <a:pPr marL="228600" lvl="0" indent="-228600">
              <a:lnSpc>
                <a:spcPct val="100000"/>
              </a:lnSpc>
              <a:spcBef>
                <a:spcPts val="800"/>
              </a:spcBef>
              <a:buFontTx/>
              <a:buChar char="-"/>
            </a:pPr>
            <a:r>
              <a:rPr lang="ru-RU" sz="1400" b="0" dirty="0">
                <a:solidFill>
                  <a:prstClr val="black"/>
                </a:solidFill>
                <a:latin typeface="+mn-lt"/>
                <a:ea typeface="Roboto" panose="02000000000000000000" pitchFamily="2" charset="0"/>
                <a:cs typeface="+mn-cs"/>
              </a:rPr>
              <a:t>Эффект на снижении незавершенного производства 50 млн. рублей;</a:t>
            </a:r>
          </a:p>
          <a:p>
            <a:pPr marL="228600" lvl="0" indent="-228600">
              <a:lnSpc>
                <a:spcPct val="100000"/>
              </a:lnSpc>
              <a:spcBef>
                <a:spcPts val="800"/>
              </a:spcBef>
              <a:buFontTx/>
              <a:buChar char="-"/>
            </a:pPr>
            <a:r>
              <a:rPr lang="ru-RU" sz="1400" b="0" dirty="0">
                <a:solidFill>
                  <a:prstClr val="black"/>
                </a:solidFill>
                <a:latin typeface="+mn-lt"/>
                <a:ea typeface="Roboto" panose="02000000000000000000" pitchFamily="2" charset="0"/>
                <a:cs typeface="+mn-cs"/>
              </a:rPr>
              <a:t>Эффект на снижении остатков отходов 40 млн. рублей;</a:t>
            </a:r>
          </a:p>
          <a:p>
            <a:pPr marL="228600" lvl="0" indent="-228600">
              <a:lnSpc>
                <a:spcPct val="100000"/>
              </a:lnSpc>
              <a:spcBef>
                <a:spcPts val="800"/>
              </a:spcBef>
              <a:buFontTx/>
              <a:buChar char="-"/>
            </a:pPr>
            <a:r>
              <a:rPr lang="ru-RU" sz="1400" b="0" dirty="0">
                <a:solidFill>
                  <a:prstClr val="black"/>
                </a:solidFill>
                <a:latin typeface="+mn-lt"/>
                <a:ea typeface="Roboto" panose="02000000000000000000" pitchFamily="2" charset="0"/>
                <a:cs typeface="+mn-cs"/>
              </a:rPr>
              <a:t>Эффект на снижении запасов готовой продукции на 180 млн. рублей.</a:t>
            </a:r>
          </a:p>
          <a:p>
            <a:pPr lvl="0">
              <a:lnSpc>
                <a:spcPct val="100000"/>
              </a:lnSpc>
              <a:spcBef>
                <a:spcPts val="800"/>
              </a:spcBef>
            </a:pPr>
            <a:r>
              <a:rPr lang="ru-RU" sz="1400" dirty="0">
                <a:solidFill>
                  <a:prstClr val="black"/>
                </a:solidFill>
                <a:latin typeface="+mn-lt"/>
                <a:ea typeface="Roboto" panose="02000000000000000000" pitchFamily="2" charset="0"/>
                <a:cs typeface="+mn-cs"/>
              </a:rPr>
              <a:t>Реализация данного проекта позволит повысить привлекательность предприятия на рынке за счет сокращения сроков изготовления и обеспечения их запланированного выполнения.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5422666"/>
              </p:ext>
            </p:extLst>
          </p:nvPr>
        </p:nvGraphicFramePr>
        <p:xfrm>
          <a:off x="652039" y="4536406"/>
          <a:ext cx="5207000" cy="1799617"/>
        </p:xfrm>
        <a:graphic>
          <a:graphicData uri="http://schemas.openxmlformats.org/drawingml/2006/table">
            <a:tbl>
              <a:tblPr firstRow="1" firstCol="1" bandRow="1"/>
              <a:tblGrid>
                <a:gridCol w="2273702">
                  <a:extLst>
                    <a:ext uri="{9D8B030D-6E8A-4147-A177-3AD203B41FA5}">
                      <a16:colId xmlns:a16="http://schemas.microsoft.com/office/drawing/2014/main" val="632249396"/>
                    </a:ext>
                  </a:extLst>
                </a:gridCol>
                <a:gridCol w="875233">
                  <a:extLst>
                    <a:ext uri="{9D8B030D-6E8A-4147-A177-3AD203B41FA5}">
                      <a16:colId xmlns:a16="http://schemas.microsoft.com/office/drawing/2014/main" val="2619242829"/>
                    </a:ext>
                  </a:extLst>
                </a:gridCol>
                <a:gridCol w="1002078">
                  <a:extLst>
                    <a:ext uri="{9D8B030D-6E8A-4147-A177-3AD203B41FA5}">
                      <a16:colId xmlns:a16="http://schemas.microsoft.com/office/drawing/2014/main" val="3849195630"/>
                    </a:ext>
                  </a:extLst>
                </a:gridCol>
                <a:gridCol w="1055987">
                  <a:extLst>
                    <a:ext uri="{9D8B030D-6E8A-4147-A177-3AD203B41FA5}">
                      <a16:colId xmlns:a16="http://schemas.microsoft.com/office/drawing/2014/main" val="1805626958"/>
                    </a:ext>
                  </a:extLst>
                </a:gridCol>
              </a:tblGrid>
              <a:tr h="9995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зменяемый парамет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екущий уровень, 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осле реализации проекта, 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окращение запасов, относительно текущего уровня, 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8581752"/>
                  </a:ext>
                </a:extLst>
              </a:tr>
              <a:tr h="4000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езавершенное производство по предприятию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653543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ходы в отделе сырь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618609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отовая продукция на складе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57645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230866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15D5A6CB-D759-7541-BEB6-BBB219A059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15D5A6CB-D759-7541-BEB6-BBB219A059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A7BAA498-A896-EB44-99C1-BD2882FBEA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8647" y="3672716"/>
            <a:ext cx="6836928" cy="498598"/>
          </a:xfrm>
        </p:spPr>
        <p:txBody>
          <a:bodyPr vert="horz"/>
          <a:lstStyle/>
          <a:p>
            <a:r>
              <a:rPr lang="ru-RU" dirty="0"/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37005116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7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1251" y="282636"/>
            <a:ext cx="9072000" cy="443198"/>
          </a:xfrm>
        </p:spPr>
        <p:txBody>
          <a:bodyPr vert="horz"/>
          <a:lstStyle/>
          <a:p>
            <a:r>
              <a:rPr lang="ru-RU" sz="3200" dirty="0">
                <a:latin typeface="+mj-lt"/>
              </a:rPr>
              <a:t>Цели и задачи работы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10162817" y="117563"/>
            <a:ext cx="1339703" cy="873832"/>
            <a:chOff x="10162817" y="117563"/>
            <a:chExt cx="1339703" cy="873832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10162817" y="117563"/>
              <a:ext cx="1339703" cy="87383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90000" rIns="46800" bIns="46800" rtlCol="0" anchor="t"/>
            <a:lstStyle/>
            <a:p>
              <a:pPr algn="l"/>
              <a:endParaRPr lang="en-US" sz="1200" dirty="0">
                <a:solidFill>
                  <a:schemeClr val="tx1"/>
                </a:solidFill>
              </a:endParaRPr>
            </a:p>
          </p:txBody>
        </p:sp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543430" y="168388"/>
              <a:ext cx="767558" cy="783532"/>
            </a:xfrm>
            <a:prstGeom prst="rect">
              <a:avLst/>
            </a:prstGeom>
          </p:spPr>
        </p:pic>
      </p:grpSp>
      <p:sp>
        <p:nvSpPr>
          <p:cNvPr id="12" name="Заголовок 1"/>
          <p:cNvSpPr txBox="1">
            <a:spLocks/>
          </p:cNvSpPr>
          <p:nvPr/>
        </p:nvSpPr>
        <p:spPr>
          <a:xfrm>
            <a:off x="652800" y="1185619"/>
            <a:ext cx="10886400" cy="517988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just"/>
            <a:r>
              <a:rPr lang="ru-RU" sz="2200" dirty="0">
                <a:latin typeface="+mj-lt"/>
              </a:rPr>
              <a:t>Цель работы: </a:t>
            </a:r>
            <a:r>
              <a:rPr lang="ru-RU" sz="2200" b="0" dirty="0">
                <a:latin typeface="+mj-lt"/>
              </a:rPr>
              <a:t>Трансформация существующей  системы производственного планирования предприятия, разработка рекомендаций по ее дальнейшему  совершенствованию. </a:t>
            </a:r>
          </a:p>
          <a:p>
            <a:endParaRPr lang="ru-RU" sz="2200" b="0" dirty="0">
              <a:latin typeface="+mj-lt"/>
            </a:endParaRPr>
          </a:p>
          <a:p>
            <a:pPr algn="just"/>
            <a:r>
              <a:rPr lang="ru-RU" sz="2200" dirty="0">
                <a:latin typeface="+mj-lt"/>
              </a:rPr>
              <a:t>Предмет исследования </a:t>
            </a:r>
            <a:r>
              <a:rPr lang="ru-RU" sz="2200" b="0" dirty="0">
                <a:latin typeface="+mj-lt"/>
              </a:rPr>
              <a:t>– система производственного планирования АО «КЗОЦМ».</a:t>
            </a:r>
          </a:p>
          <a:p>
            <a:endParaRPr lang="ru-RU" sz="2200" b="0" dirty="0">
              <a:latin typeface="+mj-lt"/>
            </a:endParaRPr>
          </a:p>
          <a:p>
            <a:pPr algn="just"/>
            <a:r>
              <a:rPr lang="ru-RU" sz="2200" dirty="0">
                <a:latin typeface="+mj-lt"/>
              </a:rPr>
              <a:t>В соответствии с поставленной целью необходимо решить следующие задачи: </a:t>
            </a:r>
          </a:p>
          <a:p>
            <a:endParaRPr lang="ru-RU" sz="2200" dirty="0">
              <a:latin typeface="+mj-lt"/>
            </a:endParaRPr>
          </a:p>
          <a:p>
            <a:r>
              <a:rPr lang="ru-RU" sz="2200" b="0" dirty="0">
                <a:latin typeface="+mj-lt"/>
              </a:rPr>
              <a:t>1. Проанализировать теоретико-методологические основы существующих систем производственного планирования;</a:t>
            </a:r>
          </a:p>
          <a:p>
            <a:r>
              <a:rPr lang="ru-RU" sz="2200" b="0" dirty="0">
                <a:latin typeface="+mj-lt"/>
              </a:rPr>
              <a:t>2. Охарактеризовать производственную структуру предприятия</a:t>
            </a:r>
          </a:p>
          <a:p>
            <a:pPr algn="just"/>
            <a:r>
              <a:rPr lang="ru-RU" sz="2200" b="0" dirty="0">
                <a:latin typeface="+mj-lt"/>
              </a:rPr>
              <a:t>3. Оценить действующую систему планирования основного производства на данном предприятии;</a:t>
            </a:r>
          </a:p>
          <a:p>
            <a:r>
              <a:rPr lang="ru-RU" sz="2200" b="0" dirty="0">
                <a:latin typeface="+mj-lt"/>
              </a:rPr>
              <a:t>4. Предложить пути трансформации систем производственного планирования на предприятии с целью ее улучшения.</a:t>
            </a:r>
          </a:p>
        </p:txBody>
      </p:sp>
    </p:spTree>
    <p:extLst>
      <p:ext uri="{BB962C8B-B14F-4D97-AF65-F5344CB8AC3E}">
        <p14:creationId xmlns:p14="http://schemas.microsoft.com/office/powerpoint/2010/main" val="14203720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1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Группа 6"/>
          <p:cNvGrpSpPr/>
          <p:nvPr/>
        </p:nvGrpSpPr>
        <p:grpSpPr>
          <a:xfrm>
            <a:off x="10113391" y="190918"/>
            <a:ext cx="1339703" cy="873832"/>
            <a:chOff x="10162817" y="117563"/>
            <a:chExt cx="1339703" cy="873832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10162817" y="117563"/>
              <a:ext cx="1339703" cy="87383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90000" rIns="46800" bIns="46800" rtlCol="0" anchor="t"/>
            <a:lstStyle/>
            <a:p>
              <a:pPr algn="l"/>
              <a:endParaRPr lang="en-US" sz="1200" dirty="0">
                <a:solidFill>
                  <a:schemeClr val="tx1"/>
                </a:solidFill>
              </a:endParaRPr>
            </a:p>
          </p:txBody>
        </p:sp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543430" y="168388"/>
              <a:ext cx="767558" cy="783532"/>
            </a:xfrm>
            <a:prstGeom prst="rect">
              <a:avLst/>
            </a:prstGeom>
          </p:spPr>
        </p:pic>
      </p:grpSp>
      <p:pic>
        <p:nvPicPr>
          <p:cNvPr id="4" name="Рисунок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3334" y="-1"/>
            <a:ext cx="8806352" cy="6375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0311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5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332399"/>
          </a:xfrm>
        </p:spPr>
        <p:txBody>
          <a:bodyPr vert="horz"/>
          <a:lstStyle/>
          <a:p>
            <a:r>
              <a:rPr lang="ru-RU" dirty="0">
                <a:latin typeface="+mj-lt"/>
              </a:rPr>
              <a:t>Описание существующей системы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10162817" y="117563"/>
            <a:ext cx="1339703" cy="873832"/>
            <a:chOff x="10162817" y="117563"/>
            <a:chExt cx="1339703" cy="873832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10162817" y="117563"/>
              <a:ext cx="1339703" cy="87383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90000" rIns="46800" bIns="46800" rtlCol="0" anchor="t"/>
            <a:lstStyle/>
            <a:p>
              <a:pPr algn="l"/>
              <a:endParaRPr lang="en-US" sz="1200" dirty="0">
                <a:solidFill>
                  <a:schemeClr val="tx1"/>
                </a:solidFill>
              </a:endParaRPr>
            </a:p>
          </p:txBody>
        </p:sp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543430" y="168388"/>
              <a:ext cx="767558" cy="783532"/>
            </a:xfrm>
            <a:prstGeom prst="rect">
              <a:avLst/>
            </a:prstGeom>
          </p:spPr>
        </p:pic>
      </p:grp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E5189EE2-C6F4-9BAD-FBEC-FCA6DEA381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55170032"/>
              </p:ext>
            </p:extLst>
          </p:nvPr>
        </p:nvGraphicFramePr>
        <p:xfrm>
          <a:off x="605536" y="1268306"/>
          <a:ext cx="11062208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863900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9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332399"/>
          </a:xfrm>
        </p:spPr>
        <p:txBody>
          <a:bodyPr vert="horz"/>
          <a:lstStyle/>
          <a:p>
            <a:r>
              <a:rPr lang="ru-RU" dirty="0">
                <a:latin typeface="+mj-lt"/>
              </a:rPr>
              <a:t>Возникающие трудности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10162817" y="117563"/>
            <a:ext cx="1339703" cy="873832"/>
            <a:chOff x="10162817" y="117563"/>
            <a:chExt cx="1339703" cy="873832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10162817" y="117563"/>
              <a:ext cx="1339703" cy="87383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90000" rIns="46800" bIns="46800" rtlCol="0" anchor="t"/>
            <a:lstStyle/>
            <a:p>
              <a:pPr algn="l"/>
              <a:endParaRPr lang="en-US" sz="1200" dirty="0">
                <a:solidFill>
                  <a:schemeClr val="tx1"/>
                </a:solidFill>
              </a:endParaRPr>
            </a:p>
          </p:txBody>
        </p:sp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543430" y="168388"/>
              <a:ext cx="767558" cy="783532"/>
            </a:xfrm>
            <a:prstGeom prst="rect">
              <a:avLst/>
            </a:prstGeom>
          </p:spPr>
        </p:pic>
      </p:grpSp>
      <p:pic>
        <p:nvPicPr>
          <p:cNvPr id="3" name="Рисунок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8718" y="1307769"/>
            <a:ext cx="9764712" cy="4601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6326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332399"/>
          </a:xfrm>
        </p:spPr>
        <p:txBody>
          <a:bodyPr vert="horz"/>
          <a:lstStyle/>
          <a:p>
            <a:r>
              <a:rPr lang="ru-RU" dirty="0">
                <a:latin typeface="+mj-lt"/>
              </a:rPr>
              <a:t>Рынок проката цветных металлов РФ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10162817" y="117563"/>
            <a:ext cx="1339703" cy="873832"/>
            <a:chOff x="10162817" y="117563"/>
            <a:chExt cx="1339703" cy="873832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10162817" y="117563"/>
              <a:ext cx="1339703" cy="87383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90000" rIns="46800" bIns="46800" rtlCol="0" anchor="t"/>
            <a:lstStyle/>
            <a:p>
              <a:pPr algn="l"/>
              <a:endParaRPr lang="en-US" sz="1200" dirty="0">
                <a:solidFill>
                  <a:schemeClr val="tx1"/>
                </a:solidFill>
              </a:endParaRPr>
            </a:p>
          </p:txBody>
        </p:sp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543430" y="168388"/>
              <a:ext cx="767558" cy="783532"/>
            </a:xfrm>
            <a:prstGeom prst="rect">
              <a:avLst/>
            </a:prstGeom>
          </p:spPr>
        </p:pic>
      </p:grpSp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0552" y="1257372"/>
            <a:ext cx="11316845" cy="3986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0502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3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7372" y="117563"/>
            <a:ext cx="9534525" cy="830997"/>
          </a:xfrm>
        </p:spPr>
        <p:txBody>
          <a:bodyPr vert="horz"/>
          <a:lstStyle/>
          <a:p>
            <a:r>
              <a:rPr lang="ru-RU" sz="2000" dirty="0">
                <a:latin typeface="+mj-lt"/>
              </a:rPr>
              <a:t>Структура рынка проката цветных металлов в разрезе производителей</a:t>
            </a:r>
            <a:br>
              <a:rPr lang="ru-RU" sz="2000" dirty="0">
                <a:latin typeface="+mj-lt"/>
              </a:rPr>
            </a:br>
            <a:r>
              <a:rPr lang="ru-RU" sz="2000" dirty="0">
                <a:latin typeface="+mj-lt"/>
              </a:rPr>
              <a:t>Структура внутреннего потребления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10162817" y="117563"/>
            <a:ext cx="1339703" cy="873832"/>
            <a:chOff x="10162817" y="117563"/>
            <a:chExt cx="1339703" cy="873832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10162817" y="117563"/>
              <a:ext cx="1339703" cy="87383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90000" rIns="46800" bIns="46800" rtlCol="0" anchor="t"/>
            <a:lstStyle/>
            <a:p>
              <a:pPr algn="l"/>
              <a:endParaRPr lang="en-US" sz="1200" dirty="0">
                <a:solidFill>
                  <a:schemeClr val="tx1"/>
                </a:solidFill>
              </a:endParaRPr>
            </a:p>
          </p:txBody>
        </p:sp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543430" y="168388"/>
              <a:ext cx="767558" cy="783532"/>
            </a:xfrm>
            <a:prstGeom prst="rect">
              <a:avLst/>
            </a:prstGeom>
          </p:spPr>
        </p:pic>
      </p:grpSp>
      <p:pic>
        <p:nvPicPr>
          <p:cNvPr id="3" name="Рисунок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1172" y="948560"/>
            <a:ext cx="11120009" cy="5409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226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1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830997"/>
          </a:xfrm>
        </p:spPr>
        <p:txBody>
          <a:bodyPr vert="horz"/>
          <a:lstStyle/>
          <a:p>
            <a:r>
              <a:rPr lang="ru-RU" dirty="0"/>
              <a:t>Финансово-экономические показатели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sz="1200" dirty="0"/>
              <a:t>млн. руб.</a:t>
            </a:r>
            <a:endParaRPr lang="ru-RU" sz="1200" dirty="0">
              <a:latin typeface="+mj-lt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920312"/>
              </p:ext>
            </p:extLst>
          </p:nvPr>
        </p:nvGraphicFramePr>
        <p:xfrm>
          <a:off x="808907" y="1362635"/>
          <a:ext cx="7048500" cy="1981200"/>
        </p:xfrm>
        <a:graphic>
          <a:graphicData uri="http://schemas.openxmlformats.org/drawingml/2006/table">
            <a:tbl>
              <a:tblPr bandRow="1"/>
              <a:tblGrid>
                <a:gridCol w="3692068">
                  <a:extLst>
                    <a:ext uri="{9D8B030D-6E8A-4147-A177-3AD203B41FA5}">
                      <a16:colId xmlns:a16="http://schemas.microsoft.com/office/drawing/2014/main" val="3931517153"/>
                    </a:ext>
                  </a:extLst>
                </a:gridCol>
                <a:gridCol w="839108">
                  <a:extLst>
                    <a:ext uri="{9D8B030D-6E8A-4147-A177-3AD203B41FA5}">
                      <a16:colId xmlns:a16="http://schemas.microsoft.com/office/drawing/2014/main" val="3287441053"/>
                    </a:ext>
                  </a:extLst>
                </a:gridCol>
                <a:gridCol w="839108">
                  <a:extLst>
                    <a:ext uri="{9D8B030D-6E8A-4147-A177-3AD203B41FA5}">
                      <a16:colId xmlns:a16="http://schemas.microsoft.com/office/drawing/2014/main" val="2180857484"/>
                    </a:ext>
                  </a:extLst>
                </a:gridCol>
                <a:gridCol w="839108">
                  <a:extLst>
                    <a:ext uri="{9D8B030D-6E8A-4147-A177-3AD203B41FA5}">
                      <a16:colId xmlns:a16="http://schemas.microsoft.com/office/drawing/2014/main" val="1138291035"/>
                    </a:ext>
                  </a:extLst>
                </a:gridCol>
                <a:gridCol w="839108">
                  <a:extLst>
                    <a:ext uri="{9D8B030D-6E8A-4147-A177-3AD203B41FA5}">
                      <a16:colId xmlns:a16="http://schemas.microsoft.com/office/drawing/2014/main" val="804265680"/>
                    </a:ext>
                  </a:extLst>
                </a:gridCol>
              </a:tblGrid>
              <a:tr h="39624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аименование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3754938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r>
                        <a:rPr lang="ru-RU" sz="1100" b="1" dirty="0">
                          <a:solidFill>
                            <a:schemeClr val="bg1"/>
                          </a:solidFill>
                        </a:rPr>
                        <a:t>Выручка от реализации</a:t>
                      </a:r>
                      <a:endParaRPr lang="en-US" sz="1100" b="1" dirty="0" err="1">
                        <a:solidFill>
                          <a:schemeClr val="bg1"/>
                        </a:solidFill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 77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9 1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3 9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5 8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1719684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r>
                        <a:rPr lang="ru-RU" sz="1100" b="1" dirty="0">
                          <a:solidFill>
                            <a:schemeClr val="bg1"/>
                          </a:solidFill>
                        </a:rPr>
                        <a:t>Себестоимость</a:t>
                      </a:r>
                      <a:r>
                        <a:rPr lang="ru-RU" sz="1100" b="1" baseline="0" dirty="0">
                          <a:solidFill>
                            <a:schemeClr val="bg1"/>
                          </a:solidFill>
                        </a:rPr>
                        <a:t> продукции</a:t>
                      </a:r>
                      <a:endParaRPr lang="ru-RU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 6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880</a:t>
                      </a:r>
                      <a:endParaRPr lang="ru-RU" sz="11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3 </a:t>
                      </a:r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12</a:t>
                      </a:r>
                      <a:endParaRPr lang="ru-RU" sz="11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 </a:t>
                      </a:r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55</a:t>
                      </a:r>
                      <a:endParaRPr lang="ru-RU" sz="11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1824997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EBITDA</a:t>
                      </a:r>
                      <a:endParaRPr lang="ru-RU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-3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 5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8060230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r>
                        <a:rPr lang="ru-RU" sz="1100" b="1" dirty="0">
                          <a:solidFill>
                            <a:schemeClr val="bg1"/>
                          </a:solidFill>
                        </a:rPr>
                        <a:t>Денежные</a:t>
                      </a:r>
                      <a:r>
                        <a:rPr lang="ru-RU" sz="1100" b="1" baseline="0" dirty="0">
                          <a:solidFill>
                            <a:schemeClr val="bg1"/>
                          </a:solidFill>
                        </a:rPr>
                        <a:t> средства (</a:t>
                      </a:r>
                      <a:r>
                        <a:rPr lang="en-US" sz="1100" b="1" baseline="0" dirty="0">
                          <a:solidFill>
                            <a:schemeClr val="bg1"/>
                          </a:solidFill>
                        </a:rPr>
                        <a:t>FCF)</a:t>
                      </a:r>
                      <a:endParaRPr lang="ru-RU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-5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-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9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6871696"/>
                  </a:ext>
                </a:extLst>
              </a:tr>
            </a:tbl>
          </a:graphicData>
        </a:graphic>
      </p:graphicFrame>
      <p:grpSp>
        <p:nvGrpSpPr>
          <p:cNvPr id="6" name="Группа 5"/>
          <p:cNvGrpSpPr/>
          <p:nvPr/>
        </p:nvGrpSpPr>
        <p:grpSpPr>
          <a:xfrm>
            <a:off x="10162817" y="117563"/>
            <a:ext cx="1339703" cy="873832"/>
            <a:chOff x="10162817" y="117563"/>
            <a:chExt cx="1339703" cy="873832"/>
          </a:xfrm>
        </p:grpSpPr>
        <p:sp>
          <p:nvSpPr>
            <p:cNvPr id="7" name="Прямоугольник 6"/>
            <p:cNvSpPr/>
            <p:nvPr/>
          </p:nvSpPr>
          <p:spPr>
            <a:xfrm>
              <a:off x="10162817" y="117563"/>
              <a:ext cx="1339703" cy="87383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90000" rIns="46800" bIns="46800" rtlCol="0" anchor="t"/>
            <a:lstStyle/>
            <a:p>
              <a:pPr algn="l"/>
              <a:endParaRPr lang="en-US" sz="1200" dirty="0">
                <a:solidFill>
                  <a:schemeClr val="tx1"/>
                </a:solidFill>
              </a:endParaRPr>
            </a:p>
          </p:txBody>
        </p:sp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543430" y="168388"/>
              <a:ext cx="767558" cy="783532"/>
            </a:xfrm>
            <a:prstGeom prst="rect">
              <a:avLst/>
            </a:prstGeom>
          </p:spPr>
        </p:pic>
      </p:grp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0250028"/>
              </p:ext>
            </p:extLst>
          </p:nvPr>
        </p:nvGraphicFramePr>
        <p:xfrm>
          <a:off x="808906" y="3995691"/>
          <a:ext cx="7048500" cy="2019300"/>
        </p:xfrm>
        <a:graphic>
          <a:graphicData uri="http://schemas.openxmlformats.org/drawingml/2006/table">
            <a:tbl>
              <a:tblPr/>
              <a:tblGrid>
                <a:gridCol w="2273403">
                  <a:extLst>
                    <a:ext uri="{9D8B030D-6E8A-4147-A177-3AD203B41FA5}">
                      <a16:colId xmlns:a16="http://schemas.microsoft.com/office/drawing/2014/main" val="3165372133"/>
                    </a:ext>
                  </a:extLst>
                </a:gridCol>
                <a:gridCol w="1001946">
                  <a:extLst>
                    <a:ext uri="{9D8B030D-6E8A-4147-A177-3AD203B41FA5}">
                      <a16:colId xmlns:a16="http://schemas.microsoft.com/office/drawing/2014/main" val="3531137091"/>
                    </a:ext>
                  </a:extLst>
                </a:gridCol>
                <a:gridCol w="1001946">
                  <a:extLst>
                    <a:ext uri="{9D8B030D-6E8A-4147-A177-3AD203B41FA5}">
                      <a16:colId xmlns:a16="http://schemas.microsoft.com/office/drawing/2014/main" val="1708579401"/>
                    </a:ext>
                  </a:extLst>
                </a:gridCol>
                <a:gridCol w="1001946">
                  <a:extLst>
                    <a:ext uri="{9D8B030D-6E8A-4147-A177-3AD203B41FA5}">
                      <a16:colId xmlns:a16="http://schemas.microsoft.com/office/drawing/2014/main" val="1267257585"/>
                    </a:ext>
                  </a:extLst>
                </a:gridCol>
                <a:gridCol w="941702">
                  <a:extLst>
                    <a:ext uri="{9D8B030D-6E8A-4147-A177-3AD203B41FA5}">
                      <a16:colId xmlns:a16="http://schemas.microsoft.com/office/drawing/2014/main" val="1155107194"/>
                    </a:ext>
                  </a:extLst>
                </a:gridCol>
                <a:gridCol w="827557">
                  <a:extLst>
                    <a:ext uri="{9D8B030D-6E8A-4147-A177-3AD203B41FA5}">
                      <a16:colId xmlns:a16="http://schemas.microsoft.com/office/drawing/2014/main" val="3338671432"/>
                    </a:ext>
                  </a:extLst>
                </a:gridCol>
              </a:tblGrid>
              <a:tr h="4191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оказатели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22 г. от 2020 г., +/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22 г. к 2020 г., 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B0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674123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ыручка. тыс. руб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 108 7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 943 7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 081 1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 972 4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6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944090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ебестоимость. тыс. руб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 316 3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 141 5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 264 8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948 4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3.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093841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быль от продаж. тыс. руб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8 3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32 1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402 3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173 9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14.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247535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Чистая прибыль. тыс. руб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 5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2 5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39 7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25 1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475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243118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ентабельность продаж. 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3930865"/>
                  </a:ext>
                </a:extLst>
              </a:tr>
              <a:tr h="4000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ентабельность затрат по основному виду деятельности. 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042316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ентабельность деятельности. 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0992891"/>
                  </a:ext>
                </a:extLst>
              </a:tr>
            </a:tbl>
          </a:graphicData>
        </a:graphic>
      </p:graphicFrame>
      <p:sp>
        <p:nvSpPr>
          <p:cNvPr id="11" name="Прямоугольник 10"/>
          <p:cNvSpPr/>
          <p:nvPr/>
        </p:nvSpPr>
        <p:spPr>
          <a:xfrm>
            <a:off x="740870" y="3538996"/>
            <a:ext cx="4136389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900" b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Динамика финансовых результатов</a:t>
            </a:r>
            <a:endParaRPr lang="ru-RU" sz="1900" b="1" dirty="0"/>
          </a:p>
        </p:txBody>
      </p:sp>
    </p:spTree>
    <p:extLst>
      <p:ext uri="{BB962C8B-B14F-4D97-AF65-F5344CB8AC3E}">
        <p14:creationId xmlns:p14="http://schemas.microsoft.com/office/powerpoint/2010/main" val="26358409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5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332399"/>
          </a:xfrm>
        </p:spPr>
        <p:txBody>
          <a:bodyPr vert="horz"/>
          <a:lstStyle/>
          <a:p>
            <a:r>
              <a:rPr lang="ru-RU" dirty="0">
                <a:latin typeface="+mj-lt"/>
              </a:rPr>
              <a:t>Автоматизация системы планирования производства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10162817" y="117563"/>
            <a:ext cx="1339703" cy="873832"/>
            <a:chOff x="10162817" y="117563"/>
            <a:chExt cx="1339703" cy="873832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10162817" y="117563"/>
              <a:ext cx="1339703" cy="87383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90000" rIns="46800" bIns="46800" rtlCol="0" anchor="t"/>
            <a:lstStyle/>
            <a:p>
              <a:pPr algn="l"/>
              <a:endParaRPr lang="en-US" sz="1200" dirty="0">
                <a:solidFill>
                  <a:schemeClr val="tx1"/>
                </a:solidFill>
              </a:endParaRPr>
            </a:p>
          </p:txBody>
        </p:sp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543430" y="168388"/>
              <a:ext cx="767558" cy="783532"/>
            </a:xfrm>
            <a:prstGeom prst="rect">
              <a:avLst/>
            </a:prstGeom>
          </p:spPr>
        </p:pic>
      </p:grpSp>
      <p:pic>
        <p:nvPicPr>
          <p:cNvPr id="10" name="Рисунок 9"/>
          <p:cNvPicPr/>
          <p:nvPr/>
        </p:nvPicPr>
        <p:blipFill rotWithShape="1">
          <a:blip r:embed="rId7"/>
          <a:srcRect l="7216" t="7804" r="10118" b="45468"/>
          <a:stretch/>
        </p:blipFill>
        <p:spPr bwMode="auto">
          <a:xfrm>
            <a:off x="1470444" y="991395"/>
            <a:ext cx="8998356" cy="507100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3610345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3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89999999999999991118E+00&quot;&gt;&lt;m_msothmcolidx val=&quot;0&quot;/&gt;&lt;m_rgb r=&quot;F3&quot; g=&quot;B9&quot; b=&quot;81&quot;/&gt;&lt;/elem&gt;&lt;elem m_fUsage=&quot;8.10000000000000053291E-01&quot;&gt;&lt;m_msothmcolidx val=&quot;0&quot;/&gt;&lt;m_rgb r=&quot;D9&quot; g=&quot;D9&quot; b=&quot;D9&quot;/&gt;&lt;/elem&gt;&lt;elem m_fUsage=&quot;7.29000000000000092371E-01&quot;&gt;&lt;m_msothmcolidx val=&quot;0&quot;/&gt;&lt;m_rgb r=&quot;FB&quot; g=&quot;E8&quot; b=&quot;D5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Пользовательские 17">
      <a:dk1>
        <a:srgbClr val="FFFFFF"/>
      </a:dk1>
      <a:lt1>
        <a:srgbClr val="000000"/>
      </a:lt1>
      <a:dk2>
        <a:srgbClr val="F1F2F1"/>
      </a:dk2>
      <a:lt2>
        <a:srgbClr val="5E5C5C"/>
      </a:lt2>
      <a:accent1>
        <a:srgbClr val="EB8B2D"/>
      </a:accent1>
      <a:accent2>
        <a:srgbClr val="CD441F"/>
      </a:accent2>
      <a:accent3>
        <a:srgbClr val="88192B"/>
      </a:accent3>
      <a:accent4>
        <a:srgbClr val="FEDE5D"/>
      </a:accent4>
      <a:accent5>
        <a:srgbClr val="4DA958"/>
      </a:accent5>
      <a:accent6>
        <a:srgbClr val="B5DCA4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180000" tIns="90000" rIns="46800" bIns="46800" rtlCol="0" anchor="t"/>
      <a:lstStyle>
        <a:defPPr algn="l"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>
        <a:spAutoFit/>
      </a:bodyPr>
      <a:lstStyle>
        <a:defPPr algn="l">
          <a:defRPr sz="1200" dirty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888</TotalTime>
  <Words>995</Words>
  <Application>Microsoft Office PowerPoint</Application>
  <PresentationFormat>Широкоэкранный</PresentationFormat>
  <Paragraphs>260</Paragraphs>
  <Slides>1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1" baseType="lpstr">
      <vt:lpstr>Arial</vt:lpstr>
      <vt:lpstr>Calibri</vt:lpstr>
      <vt:lpstr>Euclid Circular A</vt:lpstr>
      <vt:lpstr>Roboto</vt:lpstr>
      <vt:lpstr>Times New Roman</vt:lpstr>
      <vt:lpstr>1_Тема Office</vt:lpstr>
      <vt:lpstr>Слайд think-cell</vt:lpstr>
      <vt:lpstr>«Трансформация системы производственного планирования АО «КЗОЦМ», как элемент стратегического развития организации»   Выполнил: слушатель А.А. Агафонов  Руководитель: Е.В. Ганебных</vt:lpstr>
      <vt:lpstr>Цели и задачи работы</vt:lpstr>
      <vt:lpstr>Презентация PowerPoint</vt:lpstr>
      <vt:lpstr>Описание существующей системы</vt:lpstr>
      <vt:lpstr>Возникающие трудности</vt:lpstr>
      <vt:lpstr>Рынок проката цветных металлов РФ</vt:lpstr>
      <vt:lpstr>Структура рынка проката цветных металлов в разрезе производителей Структура внутреннего потребления</vt:lpstr>
      <vt:lpstr>Финансово-экономические показатели  млн. руб.</vt:lpstr>
      <vt:lpstr>Автоматизация системы планирования производства</vt:lpstr>
      <vt:lpstr>Риски, оказывающие влияние на реализацию проекта</vt:lpstr>
      <vt:lpstr>Разработка и совершенствование системы планирования производства</vt:lpstr>
      <vt:lpstr>План-график к инициативе по разработке и совершенствованию системы планирования производства (фрагмент)</vt:lpstr>
      <vt:lpstr>Преимущества. Экономический эффект.</vt:lpstr>
      <vt:lpstr>Спасибо за внимание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Текущий статус по 3 паспорту в разрезе инициатив. На  01.03.2022</dc:title>
  <dc:creator>Кот Анастасия Владленовна</dc:creator>
  <cp:lastModifiedBy>Шабалина Ольга Александровна</cp:lastModifiedBy>
  <cp:revision>378</cp:revision>
  <cp:lastPrinted>2023-01-13T09:28:57Z</cp:lastPrinted>
  <dcterms:created xsi:type="dcterms:W3CDTF">2022-04-19T09:43:03Z</dcterms:created>
  <dcterms:modified xsi:type="dcterms:W3CDTF">2023-11-17T09:50:54Z</dcterms:modified>
</cp:coreProperties>
</file>